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5.xml" ContentType="application/vnd.openxmlformats-officedocument.themeOverr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6.xml" ContentType="application/vnd.openxmlformats-officedocument.themeOverride+xml"/>
  <Override PartName="/ppt/tags/tag4.xml" ContentType="application/vnd.openxmlformats-officedocument.presentationml.tags+xml"/>
  <Override PartName="/ppt/theme/themeOverride7.xml" ContentType="application/vnd.openxmlformats-officedocument.themeOverride+xml"/>
  <Override PartName="/ppt/tags/tag5.xml" ContentType="application/vnd.openxmlformats-officedocument.presentationml.tags+xml"/>
  <Override PartName="/ppt/theme/themeOverride8.xml" ContentType="application/vnd.openxmlformats-officedocument.themeOverr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9.xml" ContentType="application/vnd.openxmlformats-officedocument.themeOverride+xml"/>
  <Override PartName="/ppt/tags/tag7.xml" ContentType="application/vnd.openxmlformats-officedocument.presentationml.tags+xml"/>
  <Override PartName="/ppt/theme/themeOverride10.xml" ContentType="application/vnd.openxmlformats-officedocument.themeOverride+xml"/>
  <Override PartName="/ppt/tags/tag8.xml" ContentType="application/vnd.openxmlformats-officedocument.presentationml.tags+xml"/>
  <Override PartName="/ppt/theme/themeOverride11.xml" ContentType="application/vnd.openxmlformats-officedocument.themeOverride+xml"/>
  <Override PartName="/ppt/tags/tag9.xml" ContentType="application/vnd.openxmlformats-officedocument.presentationml.tags+xml"/>
  <Override PartName="/ppt/theme/themeOverride12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13.xml" ContentType="application/vnd.openxmlformats-officedocument.themeOverride+xml"/>
  <Override PartName="/ppt/tags/tag12.xml" ContentType="application/vnd.openxmlformats-officedocument.presentationml.tags+xml"/>
  <Override PartName="/ppt/theme/themeOverride14.xml" ContentType="application/vnd.openxmlformats-officedocument.themeOverride+xml"/>
  <Override PartName="/ppt/tags/tag13.xml" ContentType="application/vnd.openxmlformats-officedocument.presentationml.tags+xml"/>
  <Override PartName="/ppt/theme/themeOverride15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16.xml" ContentType="application/vnd.openxmlformats-officedocument.themeOverride+xml"/>
  <Override PartName="/ppt/tags/tag17.xml" ContentType="application/vnd.openxmlformats-officedocument.presentationml.tags+xml"/>
  <Override PartName="/ppt/theme/themeOverride17.xml" ContentType="application/vnd.openxmlformats-officedocument.themeOverride+xml"/>
  <Override PartName="/ppt/tags/tag18.xml" ContentType="application/vnd.openxmlformats-officedocument.presentationml.tags+xml"/>
  <Override PartName="/ppt/theme/themeOverride18.xml" ContentType="application/vnd.openxmlformats-officedocument.themeOverride+xml"/>
  <Override PartName="/ppt/tags/tag19.xml" ContentType="application/vnd.openxmlformats-officedocument.presentationml.tags+xml"/>
  <Override PartName="/ppt/theme/themeOverride19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20.xml" ContentType="application/vnd.openxmlformats-officedocument.themeOverride+xml"/>
  <Override PartName="/ppt/tags/tag22.xml" ContentType="application/vnd.openxmlformats-officedocument.presentationml.tags+xml"/>
  <Override PartName="/ppt/theme/themeOverride21.xml" ContentType="application/vnd.openxmlformats-officedocument.themeOverride+xml"/>
  <Override PartName="/ppt/tags/tag23.xml" ContentType="application/vnd.openxmlformats-officedocument.presentationml.tags+xml"/>
  <Override PartName="/ppt/theme/themeOverride22.xml" ContentType="application/vnd.openxmlformats-officedocument.themeOverr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23.xml" ContentType="application/vnd.openxmlformats-officedocument.themeOverride+xml"/>
  <Override PartName="/ppt/tags/tag25.xml" ContentType="application/vnd.openxmlformats-officedocument.presentationml.tags+xml"/>
  <Override PartName="/ppt/theme/themeOverride24.xml" ContentType="application/vnd.openxmlformats-officedocument.themeOverride+xml"/>
  <Override PartName="/ppt/tags/tag26.xml" ContentType="application/vnd.openxmlformats-officedocument.presentationml.tags+xml"/>
  <Override PartName="/ppt/theme/themeOverride25.xml" ContentType="application/vnd.openxmlformats-officedocument.themeOverride+xml"/>
  <Override PartName="/ppt/tags/tag27.xml" ContentType="application/vnd.openxmlformats-officedocument.presentationml.tags+xml"/>
  <Override PartName="/ppt/theme/themeOverride26.xml" ContentType="application/vnd.openxmlformats-officedocument.themeOverrid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1741" r:id="rId2"/>
    <p:sldId id="1800" r:id="rId3"/>
    <p:sldId id="258" r:id="rId4"/>
    <p:sldId id="1809" r:id="rId5"/>
    <p:sldId id="1806" r:id="rId6"/>
    <p:sldId id="1808" r:id="rId7"/>
    <p:sldId id="1804" r:id="rId8"/>
    <p:sldId id="1798" r:id="rId9"/>
    <p:sldId id="1812" r:id="rId10"/>
    <p:sldId id="1802" r:id="rId11"/>
    <p:sldId id="1796" r:id="rId12"/>
    <p:sldId id="1810" r:id="rId13"/>
    <p:sldId id="1801" r:id="rId14"/>
    <p:sldId id="1807" r:id="rId15"/>
    <p:sldId id="1803" r:id="rId16"/>
    <p:sldId id="1823" r:id="rId17"/>
    <p:sldId id="1811" r:id="rId18"/>
    <p:sldId id="1814" r:id="rId19"/>
    <p:sldId id="1797" r:id="rId20"/>
    <p:sldId id="1805" r:id="rId21"/>
    <p:sldId id="1824" r:id="rId22"/>
    <p:sldId id="1799" r:id="rId23"/>
    <p:sldId id="1817" r:id="rId24"/>
    <p:sldId id="1816" r:id="rId25"/>
    <p:sldId id="1813" r:id="rId26"/>
    <p:sldId id="1815" r:id="rId27"/>
    <p:sldId id="1821" r:id="rId28"/>
    <p:sldId id="261" r:id="rId29"/>
  </p:sldIdLst>
  <p:sldSz cx="12192000" cy="6858000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lan Zeng" initials="YZ" lastIdx="1" clrIdx="0">
    <p:extLst>
      <p:ext uri="{19B8F6BF-5375-455C-9EA6-DF929625EA0E}">
        <p15:presenceInfo xmlns:p15="http://schemas.microsoft.com/office/powerpoint/2012/main" userId="S::yulan.zeng@islide.cc::5a9eb7df-2328-45df-ab52-efb0cf2cc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76C6"/>
    <a:srgbClr val="F2F2F2"/>
    <a:srgbClr val="BFBFBF"/>
    <a:srgbClr val="989898"/>
    <a:srgbClr val="AECCE8"/>
    <a:srgbClr val="85ACD1"/>
    <a:srgbClr val="D0D0D0"/>
    <a:srgbClr val="00529F"/>
    <a:srgbClr val="091F6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979" autoAdjust="0"/>
  </p:normalViewPr>
  <p:slideViewPr>
    <p:cSldViewPr snapToGrid="0">
      <p:cViewPr varScale="1">
        <p:scale>
          <a:sx n="70" d="100"/>
          <a:sy n="70" d="100"/>
        </p:scale>
        <p:origin x="264" y="58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-1128"/>
    </p:cViewPr>
  </p:sorterViewPr>
  <p:notesViewPr>
    <p:cSldViewPr snapToGrid="0" showGuides="1">
      <p:cViewPr varScale="1">
        <p:scale>
          <a:sx n="83" d="100"/>
          <a:sy n="83" d="100"/>
        </p:scale>
        <p:origin x="30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3237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4118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78311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45183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1696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/>
              <a:t>www.51pptmoban.com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2876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58F5696F-0AA6-4AC8-85D9-BD0106EB6D24}"/>
              </a:ext>
            </a:extLst>
          </p:cNvPr>
          <p:cNvGrpSpPr/>
          <p:nvPr userDrawn="1"/>
        </p:nvGrpSpPr>
        <p:grpSpPr>
          <a:xfrm>
            <a:off x="-92406" y="-13495"/>
            <a:ext cx="12284406" cy="6871495"/>
            <a:chOff x="-92406" y="-13495"/>
            <a:chExt cx="12284406" cy="6871495"/>
          </a:xfrm>
        </p:grpSpPr>
        <p:sp>
          <p:nvSpPr>
            <p:cNvPr id="80" name="î$ḻíḑè">
              <a:extLst>
                <a:ext uri="{FF2B5EF4-FFF2-40B4-BE49-F238E27FC236}">
                  <a16:creationId xmlns:a16="http://schemas.microsoft.com/office/drawing/2014/main" id="{0F8E01A2-C8F9-4702-9773-2E62C532C297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685800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ïṧ1iḓe">
              <a:extLst>
                <a:ext uri="{FF2B5EF4-FFF2-40B4-BE49-F238E27FC236}">
                  <a16:creationId xmlns:a16="http://schemas.microsoft.com/office/drawing/2014/main" id="{93CE9F04-9CDF-4B1D-8699-E518A4C9F3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178" y="-12009"/>
              <a:ext cx="9894675" cy="6862071"/>
            </a:xfrm>
            <a:custGeom>
              <a:avLst/>
              <a:gdLst>
                <a:gd name="connsiteX0" fmla="*/ 9150373 w 9891095"/>
                <a:gd name="connsiteY0" fmla="*/ 0 h 6859588"/>
                <a:gd name="connsiteX1" fmla="*/ 0 w 9891095"/>
                <a:gd name="connsiteY1" fmla="*/ 6859588 h 6859588"/>
                <a:gd name="connsiteX2" fmla="*/ 6456 w 9891095"/>
                <a:gd name="connsiteY2" fmla="*/ 2153 h 6859588"/>
                <a:gd name="connsiteX3" fmla="*/ 9150373 w 9891095"/>
                <a:gd name="connsiteY3" fmla="*/ 0 h 685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91095" h="6859588">
                  <a:moveTo>
                    <a:pt x="9150373" y="0"/>
                  </a:moveTo>
                  <a:cubicBezTo>
                    <a:pt x="9150373" y="0"/>
                    <a:pt x="13755688" y="3844124"/>
                    <a:pt x="0" y="6859588"/>
                  </a:cubicBezTo>
                  <a:lnTo>
                    <a:pt x="6456" y="2153"/>
                  </a:lnTo>
                  <a:cubicBezTo>
                    <a:pt x="9150373" y="0"/>
                    <a:pt x="9150373" y="0"/>
                    <a:pt x="915037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2" name="ïṣḷíďê">
              <a:extLst>
                <a:ext uri="{FF2B5EF4-FFF2-40B4-BE49-F238E27FC236}">
                  <a16:creationId xmlns:a16="http://schemas.microsoft.com/office/drawing/2014/main" id="{2E65EC82-42FB-4FDD-96D4-B1DF3445F7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12700"/>
              <a:ext cx="9591803" cy="6652026"/>
            </a:xfrm>
            <a:custGeom>
              <a:avLst/>
              <a:gdLst>
                <a:gd name="connsiteX0" fmla="*/ 9150373 w 9891095"/>
                <a:gd name="connsiteY0" fmla="*/ 0 h 6859588"/>
                <a:gd name="connsiteX1" fmla="*/ 0 w 9891095"/>
                <a:gd name="connsiteY1" fmla="*/ 6859588 h 6859588"/>
                <a:gd name="connsiteX2" fmla="*/ 6456 w 9891095"/>
                <a:gd name="connsiteY2" fmla="*/ 2153 h 6859588"/>
                <a:gd name="connsiteX3" fmla="*/ 9150373 w 9891095"/>
                <a:gd name="connsiteY3" fmla="*/ 0 h 685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91095" h="6859588">
                  <a:moveTo>
                    <a:pt x="9150373" y="0"/>
                  </a:moveTo>
                  <a:cubicBezTo>
                    <a:pt x="9150373" y="0"/>
                    <a:pt x="13755688" y="3844124"/>
                    <a:pt x="0" y="6859588"/>
                  </a:cubicBezTo>
                  <a:lnTo>
                    <a:pt x="6456" y="2153"/>
                  </a:lnTo>
                  <a:cubicBezTo>
                    <a:pt x="9150373" y="0"/>
                    <a:pt x="9150373" y="0"/>
                    <a:pt x="9150373" y="0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8000">
                  <a:schemeClr val="bg1"/>
                </a:gs>
              </a:gsLst>
              <a:lin ang="108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3" name="íSḷiďê">
              <a:extLst>
                <a:ext uri="{FF2B5EF4-FFF2-40B4-BE49-F238E27FC236}">
                  <a16:creationId xmlns:a16="http://schemas.microsoft.com/office/drawing/2014/main" id="{50ABC151-58D7-45AE-B321-B0AB84772B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88" y="-13495"/>
              <a:ext cx="9240838" cy="6408627"/>
            </a:xfrm>
            <a:custGeom>
              <a:avLst/>
              <a:gdLst>
                <a:gd name="connsiteX0" fmla="*/ 9150373 w 9891095"/>
                <a:gd name="connsiteY0" fmla="*/ 0 h 6859588"/>
                <a:gd name="connsiteX1" fmla="*/ 0 w 9891095"/>
                <a:gd name="connsiteY1" fmla="*/ 6859588 h 6859588"/>
                <a:gd name="connsiteX2" fmla="*/ 6456 w 9891095"/>
                <a:gd name="connsiteY2" fmla="*/ 2153 h 6859588"/>
                <a:gd name="connsiteX3" fmla="*/ 9150373 w 9891095"/>
                <a:gd name="connsiteY3" fmla="*/ 0 h 685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91095" h="6859588">
                  <a:moveTo>
                    <a:pt x="9150373" y="0"/>
                  </a:moveTo>
                  <a:cubicBezTo>
                    <a:pt x="9150373" y="0"/>
                    <a:pt x="13755688" y="3844124"/>
                    <a:pt x="0" y="6859588"/>
                  </a:cubicBezTo>
                  <a:lnTo>
                    <a:pt x="6456" y="2153"/>
                  </a:lnTo>
                  <a:cubicBezTo>
                    <a:pt x="9150373" y="0"/>
                    <a:pt x="9150373" y="0"/>
                    <a:pt x="915037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dirty="0"/>
            </a:p>
          </p:txBody>
        </p:sp>
        <p:sp>
          <p:nvSpPr>
            <p:cNvPr id="84" name="iSḷíḋé">
              <a:extLst>
                <a:ext uri="{FF2B5EF4-FFF2-40B4-BE49-F238E27FC236}">
                  <a16:creationId xmlns:a16="http://schemas.microsoft.com/office/drawing/2014/main" id="{864247A4-AD60-4D20-BC9A-D9A20B5C6A91}"/>
                </a:ext>
              </a:extLst>
            </p:cNvPr>
            <p:cNvSpPr>
              <a:spLocks/>
            </p:cNvSpPr>
            <p:nvPr userDrawn="1"/>
          </p:nvSpPr>
          <p:spPr bwMode="auto">
            <a:xfrm rot="17593092">
              <a:off x="-528125" y="5474940"/>
              <a:ext cx="1445810" cy="574371"/>
            </a:xfrm>
            <a:custGeom>
              <a:avLst/>
              <a:gdLst>
                <a:gd name="T0" fmla="*/ 0 w 6210"/>
                <a:gd name="T1" fmla="*/ 1474 h 2465"/>
                <a:gd name="T2" fmla="*/ 3402 w 6210"/>
                <a:gd name="T3" fmla="*/ 0 h 2465"/>
                <a:gd name="T4" fmla="*/ 6210 w 6210"/>
                <a:gd name="T5" fmla="*/ 2465 h 2465"/>
                <a:gd name="T6" fmla="*/ 0 w 6210"/>
                <a:gd name="T7" fmla="*/ 1474 h 2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10" h="2465">
                  <a:moveTo>
                    <a:pt x="0" y="1474"/>
                  </a:moveTo>
                  <a:cubicBezTo>
                    <a:pt x="0" y="1474"/>
                    <a:pt x="4321" y="1647"/>
                    <a:pt x="3402" y="0"/>
                  </a:cubicBezTo>
                  <a:cubicBezTo>
                    <a:pt x="6210" y="2465"/>
                    <a:pt x="6210" y="2465"/>
                    <a:pt x="6210" y="2465"/>
                  </a:cubicBezTo>
                  <a:lnTo>
                    <a:pt x="0" y="1474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ïṣľîḍé">
              <a:extLst>
                <a:ext uri="{FF2B5EF4-FFF2-40B4-BE49-F238E27FC236}">
                  <a16:creationId xmlns:a16="http://schemas.microsoft.com/office/drawing/2014/main" id="{596A441B-FEB5-4AB7-A2C2-B2230340F1F1}"/>
                </a:ext>
              </a:extLst>
            </p:cNvPr>
            <p:cNvSpPr>
              <a:spLocks/>
            </p:cNvSpPr>
            <p:nvPr userDrawn="1"/>
          </p:nvSpPr>
          <p:spPr bwMode="auto">
            <a:xfrm rot="17597990">
              <a:off x="-249402" y="5523119"/>
              <a:ext cx="1298504" cy="515851"/>
            </a:xfrm>
            <a:custGeom>
              <a:avLst/>
              <a:gdLst>
                <a:gd name="T0" fmla="*/ 0 w 6210"/>
                <a:gd name="T1" fmla="*/ 1474 h 2465"/>
                <a:gd name="T2" fmla="*/ 3402 w 6210"/>
                <a:gd name="T3" fmla="*/ 0 h 2465"/>
                <a:gd name="T4" fmla="*/ 6210 w 6210"/>
                <a:gd name="T5" fmla="*/ 2465 h 2465"/>
                <a:gd name="T6" fmla="*/ 0 w 6210"/>
                <a:gd name="T7" fmla="*/ 1474 h 2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10" h="2465">
                  <a:moveTo>
                    <a:pt x="0" y="1474"/>
                  </a:moveTo>
                  <a:cubicBezTo>
                    <a:pt x="0" y="1474"/>
                    <a:pt x="4321" y="1647"/>
                    <a:pt x="3402" y="0"/>
                  </a:cubicBezTo>
                  <a:cubicBezTo>
                    <a:pt x="6210" y="2465"/>
                    <a:pt x="6210" y="2465"/>
                    <a:pt x="6210" y="2465"/>
                  </a:cubicBezTo>
                  <a:lnTo>
                    <a:pt x="0" y="147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0321" y="4048802"/>
            <a:ext cx="8096207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5704" y="4355079"/>
            <a:ext cx="811121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4" y="2934918"/>
            <a:ext cx="8111219" cy="55879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rgbClr val="091F68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altLang="zh-CN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69924" y="1492250"/>
            <a:ext cx="8111219" cy="141854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>
                <a:solidFill>
                  <a:srgbClr val="091F68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pic>
        <p:nvPicPr>
          <p:cNvPr id="86" name="图片 85">
            <a:extLst>
              <a:ext uri="{FF2B5EF4-FFF2-40B4-BE49-F238E27FC236}">
                <a16:creationId xmlns:a16="http://schemas.microsoft.com/office/drawing/2014/main" id="{20262B2E-CF08-43CB-BBBF-C96009CC1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" y="311150"/>
            <a:ext cx="3300693" cy="81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 hasCustomPrompt="1"/>
          </p:nvPr>
        </p:nvSpPr>
        <p:spPr>
          <a:xfrm>
            <a:off x="6202623" y="3214511"/>
            <a:ext cx="531786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 hasCustomPrompt="1"/>
          </p:nvPr>
        </p:nvSpPr>
        <p:spPr>
          <a:xfrm>
            <a:off x="6203739" y="4109861"/>
            <a:ext cx="531786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0E96B0A5-B8AD-4536-A061-F872A3145854}"/>
              </a:ext>
            </a:extLst>
          </p:cNvPr>
          <p:cNvGrpSpPr/>
          <p:nvPr userDrawn="1"/>
        </p:nvGrpSpPr>
        <p:grpSpPr>
          <a:xfrm>
            <a:off x="-1114" y="-13495"/>
            <a:ext cx="6097115" cy="5771345"/>
            <a:chOff x="-1114" y="-13495"/>
            <a:chExt cx="6097115" cy="5771345"/>
          </a:xfrm>
        </p:grpSpPr>
        <p:sp>
          <p:nvSpPr>
            <p:cNvPr id="18" name="íṡḷîḑé">
              <a:extLst>
                <a:ext uri="{FF2B5EF4-FFF2-40B4-BE49-F238E27FC236}">
                  <a16:creationId xmlns:a16="http://schemas.microsoft.com/office/drawing/2014/main" id="{31782FAB-FAE0-4FF5-A437-C65B7210EB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14" y="-12696"/>
              <a:ext cx="6097115" cy="5770546"/>
            </a:xfrm>
            <a:custGeom>
              <a:avLst/>
              <a:gdLst>
                <a:gd name="connsiteX0" fmla="*/ 5375537 w 6097115"/>
                <a:gd name="connsiteY0" fmla="*/ 0 h 5770546"/>
                <a:gd name="connsiteX1" fmla="*/ 245938 w 6097115"/>
                <a:gd name="connsiteY1" fmla="*/ 5695412 h 5770546"/>
                <a:gd name="connsiteX2" fmla="*/ 0 w 6097115"/>
                <a:gd name="connsiteY2" fmla="*/ 5770546 h 5770546"/>
                <a:gd name="connsiteX3" fmla="*/ 0 w 6097115"/>
                <a:gd name="connsiteY3" fmla="*/ 1266 h 5770546"/>
                <a:gd name="connsiteX4" fmla="*/ 24946 w 6097115"/>
                <a:gd name="connsiteY4" fmla="*/ 1260 h 5770546"/>
                <a:gd name="connsiteX5" fmla="*/ 5375537 w 6097115"/>
                <a:gd name="connsiteY5" fmla="*/ 0 h 5770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97115" h="5770546">
                  <a:moveTo>
                    <a:pt x="5375537" y="0"/>
                  </a:moveTo>
                  <a:cubicBezTo>
                    <a:pt x="5375537" y="0"/>
                    <a:pt x="8934122" y="2970403"/>
                    <a:pt x="245938" y="5695412"/>
                  </a:cubicBezTo>
                  <a:lnTo>
                    <a:pt x="0" y="5770546"/>
                  </a:lnTo>
                  <a:lnTo>
                    <a:pt x="0" y="1266"/>
                  </a:lnTo>
                  <a:lnTo>
                    <a:pt x="24946" y="1260"/>
                  </a:lnTo>
                  <a:cubicBezTo>
                    <a:pt x="5375537" y="0"/>
                    <a:pt x="5375537" y="0"/>
                    <a:pt x="5375537" y="0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98000">
                  <a:schemeClr val="bg1"/>
                </a:gs>
              </a:gsLst>
              <a:lin ang="108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6" name="íṥļiḍê">
              <a:extLst>
                <a:ext uri="{FF2B5EF4-FFF2-40B4-BE49-F238E27FC236}">
                  <a16:creationId xmlns:a16="http://schemas.microsoft.com/office/drawing/2014/main" id="{8BDAA28D-D8C2-46E0-A6E1-9A43191941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" y="-13495"/>
              <a:ext cx="5741841" cy="5519020"/>
            </a:xfrm>
            <a:custGeom>
              <a:avLst/>
              <a:gdLst>
                <a:gd name="connsiteX0" fmla="*/ 5046666 w 5741841"/>
                <a:gd name="connsiteY0" fmla="*/ 0 h 5519020"/>
                <a:gd name="connsiteX1" fmla="*/ 104759 w 5741841"/>
                <a:gd name="connsiteY1" fmla="*/ 5487016 h 5519020"/>
                <a:gd name="connsiteX2" fmla="*/ 0 w 5741841"/>
                <a:gd name="connsiteY2" fmla="*/ 5519020 h 5519020"/>
                <a:gd name="connsiteX3" fmla="*/ 0 w 5741841"/>
                <a:gd name="connsiteY3" fmla="*/ 1188 h 5519020"/>
                <a:gd name="connsiteX4" fmla="*/ 172961 w 5741841"/>
                <a:gd name="connsiteY4" fmla="*/ 1148 h 5519020"/>
                <a:gd name="connsiteX5" fmla="*/ 5046666 w 5741841"/>
                <a:gd name="connsiteY5" fmla="*/ 0 h 5519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841" h="5519020">
                  <a:moveTo>
                    <a:pt x="5046666" y="0"/>
                  </a:moveTo>
                  <a:cubicBezTo>
                    <a:pt x="5046666" y="0"/>
                    <a:pt x="8475042" y="2861715"/>
                    <a:pt x="104759" y="5487016"/>
                  </a:cubicBezTo>
                  <a:lnTo>
                    <a:pt x="0" y="5519020"/>
                  </a:lnTo>
                  <a:lnTo>
                    <a:pt x="0" y="1188"/>
                  </a:lnTo>
                  <a:lnTo>
                    <a:pt x="172961" y="1148"/>
                  </a:lnTo>
                  <a:cubicBezTo>
                    <a:pt x="5046666" y="0"/>
                    <a:pt x="5046666" y="0"/>
                    <a:pt x="5046666" y="0"/>
                  </a:cubicBez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>
            <a:extLst>
              <a:ext uri="{FF2B5EF4-FFF2-40B4-BE49-F238E27FC236}">
                <a16:creationId xmlns:a16="http://schemas.microsoft.com/office/drawing/2014/main" id="{A45BB37B-AF1C-4021-828D-830570453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1" name="内容占位符 10">
            <a:extLst>
              <a:ext uri="{FF2B5EF4-FFF2-40B4-BE49-F238E27FC236}">
                <a16:creationId xmlns:a16="http://schemas.microsoft.com/office/drawing/2014/main" id="{8BC693B8-8913-417F-85A9-1A9A954FEC7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218E983-F562-4B11-99E2-976A4EE92C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48090FF0-25B3-432C-863E-DA8B2640BE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F5598AE5-6E1B-46FB-BDA5-97A8EC95F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日期占位符 5">
            <a:extLst>
              <a:ext uri="{FF2B5EF4-FFF2-40B4-BE49-F238E27FC236}">
                <a16:creationId xmlns:a16="http://schemas.microsoft.com/office/drawing/2014/main" id="{7FC54135-DD54-4D39-8520-EB0E9A06A7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7" name="页脚占位符 6">
            <a:extLst>
              <a:ext uri="{FF2B5EF4-FFF2-40B4-BE49-F238E27FC236}">
                <a16:creationId xmlns:a16="http://schemas.microsoft.com/office/drawing/2014/main" id="{798E23E5-DC34-423E-ACAE-8D88E3593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8" name="灯片编号占位符 7">
            <a:extLst>
              <a:ext uri="{FF2B5EF4-FFF2-40B4-BE49-F238E27FC236}">
                <a16:creationId xmlns:a16="http://schemas.microsoft.com/office/drawing/2014/main" id="{077B0513-7C3D-430D-A98E-8CC954DCF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îṥļíde">
            <a:extLst>
              <a:ext uri="{FF2B5EF4-FFF2-40B4-BE49-F238E27FC236}">
                <a16:creationId xmlns:a16="http://schemas.microsoft.com/office/drawing/2014/main" id="{B12D3AF7-74AD-41FB-A98D-E86D21C3C288}"/>
              </a:ext>
            </a:extLst>
          </p:cNvPr>
          <p:cNvSpPr/>
          <p:nvPr userDrawn="1"/>
        </p:nvSpPr>
        <p:spPr>
          <a:xfrm>
            <a:off x="0" y="4165600"/>
            <a:ext cx="12192000" cy="2692400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şlíḓè">
            <a:extLst>
              <a:ext uri="{FF2B5EF4-FFF2-40B4-BE49-F238E27FC236}">
                <a16:creationId xmlns:a16="http://schemas.microsoft.com/office/drawing/2014/main" id="{ADE36415-8310-4C78-8035-F1ABCC0BE489}"/>
              </a:ext>
            </a:extLst>
          </p:cNvPr>
          <p:cNvSpPr/>
          <p:nvPr userDrawn="1"/>
        </p:nvSpPr>
        <p:spPr>
          <a:xfrm>
            <a:off x="-3560" y="-1"/>
            <a:ext cx="9581785" cy="68580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iśļïḓê">
            <a:extLst>
              <a:ext uri="{FF2B5EF4-FFF2-40B4-BE49-F238E27FC236}">
                <a16:creationId xmlns:a16="http://schemas.microsoft.com/office/drawing/2014/main" id="{8C3C8C16-D217-4C39-9556-9348426AA57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" y="-4989"/>
            <a:ext cx="9581785" cy="6865116"/>
          </a:xfrm>
          <a:custGeom>
            <a:avLst/>
            <a:gdLst>
              <a:gd name="connsiteX0" fmla="*/ 9581785 w 9581785"/>
              <a:gd name="connsiteY0" fmla="*/ 0 h 6865116"/>
              <a:gd name="connsiteX1" fmla="*/ 6463 w 9581785"/>
              <a:gd name="connsiteY1" fmla="*/ 0 h 6865116"/>
              <a:gd name="connsiteX2" fmla="*/ 0 w 9581785"/>
              <a:gd name="connsiteY2" fmla="*/ 6865116 h 6865116"/>
              <a:gd name="connsiteX3" fmla="*/ 9435691 w 9581785"/>
              <a:gd name="connsiteY3" fmla="*/ 3424381 h 6865116"/>
              <a:gd name="connsiteX4" fmla="*/ 9581785 w 9581785"/>
              <a:gd name="connsiteY4" fmla="*/ 3311401 h 6865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1785" h="6865116">
                <a:moveTo>
                  <a:pt x="9581785" y="0"/>
                </a:moveTo>
                <a:lnTo>
                  <a:pt x="6463" y="0"/>
                </a:lnTo>
                <a:lnTo>
                  <a:pt x="0" y="6865116"/>
                </a:lnTo>
                <a:cubicBezTo>
                  <a:pt x="5057128" y="5756514"/>
                  <a:pt x="7899338" y="4547950"/>
                  <a:pt x="9435691" y="3424381"/>
                </a:cubicBezTo>
                <a:lnTo>
                  <a:pt x="9581785" y="33114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dirty="0"/>
          </a:p>
        </p:txBody>
      </p:sp>
      <p:sp>
        <p:nvSpPr>
          <p:cNvPr id="34" name="ïSļîḑè">
            <a:extLst>
              <a:ext uri="{FF2B5EF4-FFF2-40B4-BE49-F238E27FC236}">
                <a16:creationId xmlns:a16="http://schemas.microsoft.com/office/drawing/2014/main" id="{68F5316B-5A02-491C-9D02-294DCA857533}"/>
              </a:ext>
            </a:extLst>
          </p:cNvPr>
          <p:cNvSpPr>
            <a:spLocks/>
          </p:cNvSpPr>
          <p:nvPr userDrawn="1"/>
        </p:nvSpPr>
        <p:spPr bwMode="auto">
          <a:xfrm flipH="1">
            <a:off x="3558" y="44794"/>
            <a:ext cx="9578226" cy="6590321"/>
          </a:xfrm>
          <a:custGeom>
            <a:avLst/>
            <a:gdLst>
              <a:gd name="connsiteX0" fmla="*/ 9578226 w 9578226"/>
              <a:gd name="connsiteY0" fmla="*/ 0 h 6590321"/>
              <a:gd name="connsiteX1" fmla="*/ 6205 w 9578226"/>
              <a:gd name="connsiteY1" fmla="*/ 0 h 6590321"/>
              <a:gd name="connsiteX2" fmla="*/ 0 w 9578226"/>
              <a:gd name="connsiteY2" fmla="*/ 6590321 h 6590321"/>
              <a:gd name="connsiteX3" fmla="*/ 9493338 w 9578226"/>
              <a:gd name="connsiteY3" fmla="*/ 2984432 h 6590321"/>
              <a:gd name="connsiteX4" fmla="*/ 9578226 w 9578226"/>
              <a:gd name="connsiteY4" fmla="*/ 2908618 h 6590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78226" h="6590321">
                <a:moveTo>
                  <a:pt x="9578226" y="0"/>
                </a:moveTo>
                <a:lnTo>
                  <a:pt x="6205" y="0"/>
                </a:lnTo>
                <a:lnTo>
                  <a:pt x="0" y="6590321"/>
                </a:lnTo>
                <a:cubicBezTo>
                  <a:pt x="5310859" y="5426098"/>
                  <a:pt x="8101833" y="4148147"/>
                  <a:pt x="9493338" y="2984432"/>
                </a:cubicBezTo>
                <a:lnTo>
                  <a:pt x="9578226" y="2908618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8000">
                <a:schemeClr val="bg1"/>
              </a:gs>
            </a:gsLst>
            <a:lin ang="108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dirty="0"/>
          </a:p>
        </p:txBody>
      </p:sp>
      <p:sp>
        <p:nvSpPr>
          <p:cNvPr id="27" name="iṣľiḋé">
            <a:extLst>
              <a:ext uri="{FF2B5EF4-FFF2-40B4-BE49-F238E27FC236}">
                <a16:creationId xmlns:a16="http://schemas.microsoft.com/office/drawing/2014/main" id="{84F8C15E-93F3-4ECB-B4D2-450FD05BBB43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3714" y="-4989"/>
            <a:ext cx="9621936" cy="6367328"/>
          </a:xfrm>
          <a:custGeom>
            <a:avLst/>
            <a:gdLst>
              <a:gd name="connsiteX0" fmla="*/ 9580005 w 9580005"/>
              <a:gd name="connsiteY0" fmla="*/ 0 h 6339580"/>
              <a:gd name="connsiteX1" fmla="*/ 5969 w 9580005"/>
              <a:gd name="connsiteY1" fmla="*/ 0 h 6339580"/>
              <a:gd name="connsiteX2" fmla="*/ 0 w 9580005"/>
              <a:gd name="connsiteY2" fmla="*/ 6339580 h 6339580"/>
              <a:gd name="connsiteX3" fmla="*/ 9549201 w 9580005"/>
              <a:gd name="connsiteY3" fmla="*/ 2491289 h 6339580"/>
              <a:gd name="connsiteX4" fmla="*/ 9580005 w 9580005"/>
              <a:gd name="connsiteY4" fmla="*/ 2457799 h 6339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0005" h="6339580">
                <a:moveTo>
                  <a:pt x="9580005" y="0"/>
                </a:moveTo>
                <a:lnTo>
                  <a:pt x="5969" y="0"/>
                </a:lnTo>
                <a:lnTo>
                  <a:pt x="0" y="6339580"/>
                </a:lnTo>
                <a:cubicBezTo>
                  <a:pt x="5692847" y="5091619"/>
                  <a:pt x="8380317" y="3708020"/>
                  <a:pt x="9549201" y="2491289"/>
                </a:cubicBezTo>
                <a:lnTo>
                  <a:pt x="9580005" y="245779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dirty="0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822450"/>
            <a:ext cx="10850564" cy="160655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FFF7121B-AF09-4529-A5E2-5332374E150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4017660"/>
            <a:ext cx="10850564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87278255-4731-4F16-92B4-E901731C3C56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4329937"/>
            <a:ext cx="10850564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šļîdè">
            <a:extLst>
              <a:ext uri="{FF2B5EF4-FFF2-40B4-BE49-F238E27FC236}">
                <a16:creationId xmlns:a16="http://schemas.microsoft.com/office/drawing/2014/main" id="{A15F77A0-18E8-4D32-9267-CB18C5462BAD}"/>
              </a:ext>
            </a:extLst>
          </p:cNvPr>
          <p:cNvSpPr/>
          <p:nvPr userDrawn="1"/>
        </p:nvSpPr>
        <p:spPr>
          <a:xfrm>
            <a:off x="669924" y="1028700"/>
            <a:ext cx="10870881" cy="45719"/>
          </a:xfrm>
          <a:prstGeom prst="rect">
            <a:avLst/>
          </a:prstGeom>
          <a:gradFill>
            <a:gsLst>
              <a:gs pos="27000">
                <a:schemeClr val="accent1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标题占位符 22">
            <a:extLst>
              <a:ext uri="{FF2B5EF4-FFF2-40B4-BE49-F238E27FC236}">
                <a16:creationId xmlns:a16="http://schemas.microsoft.com/office/drawing/2014/main" id="{CBF33A54-A4BE-44E1-9674-79E938230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4" name="文本占位符 23">
            <a:extLst>
              <a:ext uri="{FF2B5EF4-FFF2-40B4-BE49-F238E27FC236}">
                <a16:creationId xmlns:a16="http://schemas.microsoft.com/office/drawing/2014/main" id="{2616F940-4C36-44A5-B4BD-989643650D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11" name="日期占位符 10">
            <a:extLst>
              <a:ext uri="{FF2B5EF4-FFF2-40B4-BE49-F238E27FC236}">
                <a16:creationId xmlns:a16="http://schemas.microsoft.com/office/drawing/2014/main" id="{808D54ED-BB56-47CB-B6A3-1C052BD53E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2" name="页脚占位符 11">
            <a:extLst>
              <a:ext uri="{FF2B5EF4-FFF2-40B4-BE49-F238E27FC236}">
                <a16:creationId xmlns:a16="http://schemas.microsoft.com/office/drawing/2014/main" id="{89F1B796-DE6D-42B5-A0C4-BFB9C9CC1C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3" name="灯片编号占位符 12">
            <a:extLst>
              <a:ext uri="{FF2B5EF4-FFF2-40B4-BE49-F238E27FC236}">
                <a16:creationId xmlns:a16="http://schemas.microsoft.com/office/drawing/2014/main" id="{647120E5-3BE8-4EB6-909C-D613C3A98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6F1314F-7E45-447F-ABBC-172D186600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0735" y="415104"/>
            <a:ext cx="2670070" cy="662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11.xml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2.xml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15.xml"/><Relationship Id="rId5" Type="http://schemas.openxmlformats.org/officeDocument/2006/relationships/image" Target="../media/image15.jpeg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16.xml"/><Relationship Id="rId4" Type="http://schemas.openxmlformats.org/officeDocument/2006/relationships/image" Target="../media/image1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18.xml"/><Relationship Id="rId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19.xml"/><Relationship Id="rId4" Type="http://schemas.openxmlformats.org/officeDocument/2006/relationships/image" Target="../media/image1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20.xml"/><Relationship Id="rId4" Type="http://schemas.openxmlformats.org/officeDocument/2006/relationships/image" Target="../media/image1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themeOverride" Target="../theme/themeOverride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22.xml"/><Relationship Id="rId4" Type="http://schemas.openxmlformats.org/officeDocument/2006/relationships/notesSlide" Target="../notesSlides/notesSlid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hemeOverride" Target="../theme/themeOverride23.xml"/><Relationship Id="rId4" Type="http://schemas.openxmlformats.org/officeDocument/2006/relationships/image" Target="../media/image20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24.xml"/><Relationship Id="rId4" Type="http://schemas.openxmlformats.org/officeDocument/2006/relationships/image" Target="../media/image2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25.xml"/><Relationship Id="rId4" Type="http://schemas.openxmlformats.org/officeDocument/2006/relationships/image" Target="../media/image22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26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5.jpeg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5.xml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ļ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íṡľîḓe">
            <a:extLst>
              <a:ext uri="{FF2B5EF4-FFF2-40B4-BE49-F238E27FC236}">
                <a16:creationId xmlns:a16="http://schemas.microsoft.com/office/drawing/2014/main" id="{DEBBA22B-7E03-49D3-BD3D-AD143E30E9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  <p:sp>
        <p:nvSpPr>
          <p:cNvPr id="10" name="iṣlîďe">
            <a:extLst>
              <a:ext uri="{FF2B5EF4-FFF2-40B4-BE49-F238E27FC236}">
                <a16:creationId xmlns:a16="http://schemas.microsoft.com/office/drawing/2014/main" id="{EB5D7275-0D6F-4CA4-B6C2-2789CDF237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www.buaa.edu.cn</a:t>
            </a:r>
            <a:endParaRPr lang="en-US" altLang="en-US" dirty="0"/>
          </a:p>
        </p:txBody>
      </p:sp>
      <p:sp>
        <p:nvSpPr>
          <p:cNvPr id="8" name="ïs1íďê">
            <a:extLst>
              <a:ext uri="{FF2B5EF4-FFF2-40B4-BE49-F238E27FC236}">
                <a16:creationId xmlns:a16="http://schemas.microsoft.com/office/drawing/2014/main" id="{3180467F-27AB-46BF-A802-DE7B24E02E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sz="2000" dirty="0">
                <a:solidFill>
                  <a:srgbClr val="00529F"/>
                </a:solidFill>
              </a:rPr>
              <a:t>BEI HANG UNIVERSITY</a:t>
            </a:r>
          </a:p>
        </p:txBody>
      </p:sp>
      <p:sp>
        <p:nvSpPr>
          <p:cNvPr id="7" name="ïslíḑe">
            <a:extLst>
              <a:ext uri="{FF2B5EF4-FFF2-40B4-BE49-F238E27FC236}">
                <a16:creationId xmlns:a16="http://schemas.microsoft.com/office/drawing/2014/main" id="{3FA45FE2-DC40-466E-AB74-78884F37CD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5400" b="1" dirty="0">
                <a:solidFill>
                  <a:srgbClr val="00529F"/>
                </a:solidFill>
              </a:rPr>
              <a:t>北京航空航天大学</a:t>
            </a:r>
            <a:endParaRPr lang="en-US" altLang="zh-CN" sz="5400" b="1" dirty="0">
              <a:solidFill>
                <a:srgbClr val="0052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623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ļï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śļîḍê">
            <a:extLst>
              <a:ext uri="{FF2B5EF4-FFF2-40B4-BE49-F238E27FC236}">
                <a16:creationId xmlns:a16="http://schemas.microsoft.com/office/drawing/2014/main" id="{785D91BF-A6C4-4CBF-8193-D43C82305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ŝḷïḋè">
            <a:extLst>
              <a:ext uri="{FF2B5EF4-FFF2-40B4-BE49-F238E27FC236}">
                <a16:creationId xmlns:a16="http://schemas.microsoft.com/office/drawing/2014/main" id="{AAEBD812-25A5-49F0-889C-1E898B516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şļïḓe">
            <a:extLst>
              <a:ext uri="{FF2B5EF4-FFF2-40B4-BE49-F238E27FC236}">
                <a16:creationId xmlns:a16="http://schemas.microsoft.com/office/drawing/2014/main" id="{866FAA94-02F0-4ECC-B806-6B2D8127D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186" name="îś1ïdè">
            <a:extLst>
              <a:ext uri="{FF2B5EF4-FFF2-40B4-BE49-F238E27FC236}">
                <a16:creationId xmlns:a16="http://schemas.microsoft.com/office/drawing/2014/main" id="{0364F88B-79B3-47C5-B7A8-C41268662489}"/>
              </a:ext>
            </a:extLst>
          </p:cNvPr>
          <p:cNvGrpSpPr/>
          <p:nvPr/>
        </p:nvGrpSpPr>
        <p:grpSpPr>
          <a:xfrm>
            <a:off x="669924" y="1451708"/>
            <a:ext cx="10848976" cy="4360985"/>
            <a:chOff x="669924" y="1451708"/>
            <a:chExt cx="10848976" cy="4360985"/>
          </a:xfrm>
        </p:grpSpPr>
        <p:sp>
          <p:nvSpPr>
            <p:cNvPr id="187" name="îṥ1ïḍé">
              <a:extLst>
                <a:ext uri="{FF2B5EF4-FFF2-40B4-BE49-F238E27FC236}">
                  <a16:creationId xmlns:a16="http://schemas.microsoft.com/office/drawing/2014/main" id="{1DC0F90B-A3A1-46B3-9EAD-DDD85A13C230}"/>
                </a:ext>
              </a:extLst>
            </p:cNvPr>
            <p:cNvSpPr/>
            <p:nvPr/>
          </p:nvSpPr>
          <p:spPr bwMode="auto">
            <a:xfrm>
              <a:off x="669924" y="3318596"/>
              <a:ext cx="3612663" cy="1495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70000"/>
                </a:lnSpc>
                <a:spcBef>
                  <a:spcPct val="0"/>
                </a:spcBef>
              </a:pPr>
              <a:r>
                <a:rPr lang="en-US" altLang="zh-CN" sz="1100" dirty="0"/>
                <a:t>Theme color makes PPT more convenient to change. Adjust the spacing to adapt to Chinese typesetting, use the reference line in PPT.</a:t>
              </a:r>
            </a:p>
            <a:p>
              <a:pPr>
                <a:lnSpc>
                  <a:spcPct val="170000"/>
                </a:lnSpc>
                <a:spcBef>
                  <a:spcPct val="0"/>
                </a:spcBef>
              </a:pPr>
              <a:r>
                <a:rPr lang="en-US" altLang="zh-CN" sz="1100" dirty="0"/>
                <a:t>.……</a:t>
              </a:r>
            </a:p>
          </p:txBody>
        </p:sp>
        <p:sp>
          <p:nvSpPr>
            <p:cNvPr id="188" name="iṡļíḍè">
              <a:extLst>
                <a:ext uri="{FF2B5EF4-FFF2-40B4-BE49-F238E27FC236}">
                  <a16:creationId xmlns:a16="http://schemas.microsoft.com/office/drawing/2014/main" id="{D61591AA-5DA9-49E1-B867-C15928BB99D8}"/>
                </a:ext>
              </a:extLst>
            </p:cNvPr>
            <p:cNvSpPr txBox="1"/>
            <p:nvPr/>
          </p:nvSpPr>
          <p:spPr>
            <a:xfrm>
              <a:off x="669924" y="2585568"/>
              <a:ext cx="3612663" cy="73302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r>
                <a:rPr lang="en-US" sz="2000" b="1" dirty="0"/>
                <a:t>Unified Fonts Make</a:t>
              </a:r>
            </a:p>
            <a:p>
              <a:pPr>
                <a:buSzPct val="25000"/>
              </a:pPr>
              <a:r>
                <a:rPr lang="en-US" sz="2000" b="1" dirty="0"/>
                <a:t>Reading More Fluent.</a:t>
              </a:r>
            </a:p>
          </p:txBody>
        </p:sp>
        <p:grpSp>
          <p:nvGrpSpPr>
            <p:cNvPr id="189" name="îSḻíďè">
              <a:extLst>
                <a:ext uri="{FF2B5EF4-FFF2-40B4-BE49-F238E27FC236}">
                  <a16:creationId xmlns:a16="http://schemas.microsoft.com/office/drawing/2014/main" id="{D1CEC7FE-BA15-4FE1-9CA7-7D1F370BBCCE}"/>
                </a:ext>
              </a:extLst>
            </p:cNvPr>
            <p:cNvGrpSpPr/>
            <p:nvPr/>
          </p:nvGrpSpPr>
          <p:grpSpPr>
            <a:xfrm>
              <a:off x="5758962" y="1451708"/>
              <a:ext cx="2945423" cy="1230923"/>
              <a:chOff x="5758962" y="1451708"/>
              <a:chExt cx="2945423" cy="1230923"/>
            </a:xfrm>
          </p:grpSpPr>
          <p:sp>
            <p:nvSpPr>
              <p:cNvPr id="202" name="îṣliḑe">
                <a:extLst>
                  <a:ext uri="{FF2B5EF4-FFF2-40B4-BE49-F238E27FC236}">
                    <a16:creationId xmlns:a16="http://schemas.microsoft.com/office/drawing/2014/main" id="{4CE1B897-0EC7-41E0-96D5-CDA041394C99}"/>
                  </a:ext>
                </a:extLst>
              </p:cNvPr>
              <p:cNvSpPr/>
              <p:nvPr/>
            </p:nvSpPr>
            <p:spPr>
              <a:xfrm>
                <a:off x="5758962" y="1749875"/>
                <a:ext cx="641838" cy="634585"/>
              </a:xfrm>
              <a:custGeom>
                <a:avLst/>
                <a:gdLst>
                  <a:gd name="T0" fmla="*/ 144 w 224"/>
                  <a:gd name="T1" fmla="*/ 116 h 220"/>
                  <a:gd name="T2" fmla="*/ 156 w 224"/>
                  <a:gd name="T3" fmla="*/ 128 h 220"/>
                  <a:gd name="T4" fmla="*/ 156 w 224"/>
                  <a:gd name="T5" fmla="*/ 208 h 220"/>
                  <a:gd name="T6" fmla="*/ 144 w 224"/>
                  <a:gd name="T7" fmla="*/ 220 h 220"/>
                  <a:gd name="T8" fmla="*/ 80 w 224"/>
                  <a:gd name="T9" fmla="*/ 220 h 220"/>
                  <a:gd name="T10" fmla="*/ 68 w 224"/>
                  <a:gd name="T11" fmla="*/ 208 h 220"/>
                  <a:gd name="T12" fmla="*/ 68 w 224"/>
                  <a:gd name="T13" fmla="*/ 128 h 220"/>
                  <a:gd name="T14" fmla="*/ 80 w 224"/>
                  <a:gd name="T15" fmla="*/ 116 h 220"/>
                  <a:gd name="T16" fmla="*/ 144 w 224"/>
                  <a:gd name="T17" fmla="*/ 116 h 220"/>
                  <a:gd name="T18" fmla="*/ 60 w 224"/>
                  <a:gd name="T19" fmla="*/ 48 h 220"/>
                  <a:gd name="T20" fmla="*/ 75 w 224"/>
                  <a:gd name="T21" fmla="*/ 64 h 220"/>
                  <a:gd name="T22" fmla="*/ 76 w 224"/>
                  <a:gd name="T23" fmla="*/ 64 h 220"/>
                  <a:gd name="T24" fmla="*/ 148 w 224"/>
                  <a:gd name="T25" fmla="*/ 64 h 220"/>
                  <a:gd name="T26" fmla="*/ 164 w 224"/>
                  <a:gd name="T27" fmla="*/ 49 h 220"/>
                  <a:gd name="T28" fmla="*/ 164 w 224"/>
                  <a:gd name="T29" fmla="*/ 48 h 220"/>
                  <a:gd name="T30" fmla="*/ 212 w 224"/>
                  <a:gd name="T31" fmla="*/ 48 h 220"/>
                  <a:gd name="T32" fmla="*/ 224 w 224"/>
                  <a:gd name="T33" fmla="*/ 60 h 220"/>
                  <a:gd name="T34" fmla="*/ 224 w 224"/>
                  <a:gd name="T35" fmla="*/ 160 h 220"/>
                  <a:gd name="T36" fmla="*/ 212 w 224"/>
                  <a:gd name="T37" fmla="*/ 172 h 220"/>
                  <a:gd name="T38" fmla="*/ 164 w 224"/>
                  <a:gd name="T39" fmla="*/ 172 h 220"/>
                  <a:gd name="T40" fmla="*/ 164 w 224"/>
                  <a:gd name="T41" fmla="*/ 124 h 220"/>
                  <a:gd name="T42" fmla="*/ 149 w 224"/>
                  <a:gd name="T43" fmla="*/ 108 h 220"/>
                  <a:gd name="T44" fmla="*/ 148 w 224"/>
                  <a:gd name="T45" fmla="*/ 108 h 220"/>
                  <a:gd name="T46" fmla="*/ 76 w 224"/>
                  <a:gd name="T47" fmla="*/ 108 h 220"/>
                  <a:gd name="T48" fmla="*/ 60 w 224"/>
                  <a:gd name="T49" fmla="*/ 123 h 220"/>
                  <a:gd name="T50" fmla="*/ 60 w 224"/>
                  <a:gd name="T51" fmla="*/ 124 h 220"/>
                  <a:gd name="T52" fmla="*/ 60 w 224"/>
                  <a:gd name="T53" fmla="*/ 172 h 220"/>
                  <a:gd name="T54" fmla="*/ 12 w 224"/>
                  <a:gd name="T55" fmla="*/ 172 h 220"/>
                  <a:gd name="T56" fmla="*/ 0 w 224"/>
                  <a:gd name="T57" fmla="*/ 160 h 220"/>
                  <a:gd name="T58" fmla="*/ 0 w 224"/>
                  <a:gd name="T59" fmla="*/ 84 h 220"/>
                  <a:gd name="T60" fmla="*/ 4 w 224"/>
                  <a:gd name="T61" fmla="*/ 73 h 220"/>
                  <a:gd name="T62" fmla="*/ 23 w 224"/>
                  <a:gd name="T63" fmla="*/ 53 h 220"/>
                  <a:gd name="T64" fmla="*/ 35 w 224"/>
                  <a:gd name="T65" fmla="*/ 48 h 220"/>
                  <a:gd name="T66" fmla="*/ 60 w 224"/>
                  <a:gd name="T67" fmla="*/ 48 h 220"/>
                  <a:gd name="T68" fmla="*/ 194 w 224"/>
                  <a:gd name="T69" fmla="*/ 72 h 220"/>
                  <a:gd name="T70" fmla="*/ 188 w 224"/>
                  <a:gd name="T71" fmla="*/ 78 h 220"/>
                  <a:gd name="T72" fmla="*/ 194 w 224"/>
                  <a:gd name="T73" fmla="*/ 84 h 220"/>
                  <a:gd name="T74" fmla="*/ 200 w 224"/>
                  <a:gd name="T75" fmla="*/ 78 h 220"/>
                  <a:gd name="T76" fmla="*/ 194 w 224"/>
                  <a:gd name="T77" fmla="*/ 72 h 220"/>
                  <a:gd name="T78" fmla="*/ 144 w 224"/>
                  <a:gd name="T79" fmla="*/ 0 h 220"/>
                  <a:gd name="T80" fmla="*/ 156 w 224"/>
                  <a:gd name="T81" fmla="*/ 12 h 220"/>
                  <a:gd name="T82" fmla="*/ 156 w 224"/>
                  <a:gd name="T83" fmla="*/ 44 h 220"/>
                  <a:gd name="T84" fmla="*/ 144 w 224"/>
                  <a:gd name="T85" fmla="*/ 56 h 220"/>
                  <a:gd name="T86" fmla="*/ 80 w 224"/>
                  <a:gd name="T87" fmla="*/ 56 h 220"/>
                  <a:gd name="T88" fmla="*/ 68 w 224"/>
                  <a:gd name="T89" fmla="*/ 44 h 220"/>
                  <a:gd name="T90" fmla="*/ 68 w 224"/>
                  <a:gd name="T91" fmla="*/ 12 h 220"/>
                  <a:gd name="T92" fmla="*/ 80 w 224"/>
                  <a:gd name="T93" fmla="*/ 0 h 220"/>
                  <a:gd name="T94" fmla="*/ 144 w 224"/>
                  <a:gd name="T95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4" h="220">
                    <a:moveTo>
                      <a:pt x="144" y="116"/>
                    </a:moveTo>
                    <a:cubicBezTo>
                      <a:pt x="151" y="116"/>
                      <a:pt x="156" y="121"/>
                      <a:pt x="156" y="128"/>
                    </a:cubicBezTo>
                    <a:cubicBezTo>
                      <a:pt x="156" y="208"/>
                      <a:pt x="156" y="208"/>
                      <a:pt x="156" y="208"/>
                    </a:cubicBezTo>
                    <a:cubicBezTo>
                      <a:pt x="156" y="215"/>
                      <a:pt x="151" y="220"/>
                      <a:pt x="144" y="220"/>
                    </a:cubicBezTo>
                    <a:cubicBezTo>
                      <a:pt x="80" y="220"/>
                      <a:pt x="80" y="220"/>
                      <a:pt x="80" y="220"/>
                    </a:cubicBezTo>
                    <a:cubicBezTo>
                      <a:pt x="73" y="220"/>
                      <a:pt x="68" y="215"/>
                      <a:pt x="68" y="208"/>
                    </a:cubicBezTo>
                    <a:cubicBezTo>
                      <a:pt x="68" y="128"/>
                      <a:pt x="68" y="128"/>
                      <a:pt x="68" y="128"/>
                    </a:cubicBezTo>
                    <a:cubicBezTo>
                      <a:pt x="68" y="121"/>
                      <a:pt x="73" y="116"/>
                      <a:pt x="80" y="116"/>
                    </a:cubicBezTo>
                    <a:lnTo>
                      <a:pt x="144" y="116"/>
                    </a:lnTo>
                    <a:close/>
                    <a:moveTo>
                      <a:pt x="60" y="48"/>
                    </a:moveTo>
                    <a:cubicBezTo>
                      <a:pt x="60" y="57"/>
                      <a:pt x="67" y="64"/>
                      <a:pt x="75" y="64"/>
                    </a:cubicBezTo>
                    <a:cubicBezTo>
                      <a:pt x="76" y="64"/>
                      <a:pt x="76" y="64"/>
                      <a:pt x="76" y="64"/>
                    </a:cubicBezTo>
                    <a:cubicBezTo>
                      <a:pt x="148" y="64"/>
                      <a:pt x="148" y="64"/>
                      <a:pt x="148" y="64"/>
                    </a:cubicBezTo>
                    <a:cubicBezTo>
                      <a:pt x="157" y="64"/>
                      <a:pt x="164" y="57"/>
                      <a:pt x="164" y="49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212" y="48"/>
                      <a:pt x="212" y="48"/>
                      <a:pt x="212" y="48"/>
                    </a:cubicBezTo>
                    <a:cubicBezTo>
                      <a:pt x="219" y="48"/>
                      <a:pt x="224" y="53"/>
                      <a:pt x="224" y="60"/>
                    </a:cubicBezTo>
                    <a:cubicBezTo>
                      <a:pt x="224" y="160"/>
                      <a:pt x="224" y="160"/>
                      <a:pt x="224" y="160"/>
                    </a:cubicBezTo>
                    <a:cubicBezTo>
                      <a:pt x="224" y="167"/>
                      <a:pt x="219" y="172"/>
                      <a:pt x="212" y="172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4" y="124"/>
                      <a:pt x="164" y="124"/>
                      <a:pt x="164" y="124"/>
                    </a:cubicBezTo>
                    <a:cubicBezTo>
                      <a:pt x="164" y="115"/>
                      <a:pt x="157" y="108"/>
                      <a:pt x="149" y="108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76" y="108"/>
                      <a:pt x="76" y="108"/>
                      <a:pt x="76" y="108"/>
                    </a:cubicBezTo>
                    <a:cubicBezTo>
                      <a:pt x="67" y="108"/>
                      <a:pt x="60" y="115"/>
                      <a:pt x="60" y="123"/>
                    </a:cubicBezTo>
                    <a:cubicBezTo>
                      <a:pt x="60" y="124"/>
                      <a:pt x="60" y="124"/>
                      <a:pt x="60" y="124"/>
                    </a:cubicBezTo>
                    <a:cubicBezTo>
                      <a:pt x="60" y="172"/>
                      <a:pt x="60" y="172"/>
                      <a:pt x="60" y="172"/>
                    </a:cubicBezTo>
                    <a:cubicBezTo>
                      <a:pt x="12" y="172"/>
                      <a:pt x="12" y="172"/>
                      <a:pt x="12" y="172"/>
                    </a:cubicBezTo>
                    <a:cubicBezTo>
                      <a:pt x="5" y="172"/>
                      <a:pt x="0" y="167"/>
                      <a:pt x="0" y="16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0"/>
                      <a:pt x="2" y="76"/>
                      <a:pt x="4" y="73"/>
                    </a:cubicBezTo>
                    <a:cubicBezTo>
                      <a:pt x="23" y="53"/>
                      <a:pt x="23" y="53"/>
                      <a:pt x="23" y="53"/>
                    </a:cubicBezTo>
                    <a:cubicBezTo>
                      <a:pt x="26" y="50"/>
                      <a:pt x="31" y="48"/>
                      <a:pt x="35" y="48"/>
                    </a:cubicBezTo>
                    <a:lnTo>
                      <a:pt x="60" y="48"/>
                    </a:lnTo>
                    <a:close/>
                    <a:moveTo>
                      <a:pt x="194" y="72"/>
                    </a:moveTo>
                    <a:cubicBezTo>
                      <a:pt x="191" y="72"/>
                      <a:pt x="188" y="75"/>
                      <a:pt x="188" y="78"/>
                    </a:cubicBezTo>
                    <a:cubicBezTo>
                      <a:pt x="188" y="81"/>
                      <a:pt x="191" y="84"/>
                      <a:pt x="194" y="84"/>
                    </a:cubicBezTo>
                    <a:cubicBezTo>
                      <a:pt x="197" y="84"/>
                      <a:pt x="200" y="81"/>
                      <a:pt x="200" y="78"/>
                    </a:cubicBezTo>
                    <a:cubicBezTo>
                      <a:pt x="200" y="75"/>
                      <a:pt x="197" y="72"/>
                      <a:pt x="194" y="72"/>
                    </a:cubicBezTo>
                    <a:close/>
                    <a:moveTo>
                      <a:pt x="144" y="0"/>
                    </a:moveTo>
                    <a:cubicBezTo>
                      <a:pt x="151" y="0"/>
                      <a:pt x="156" y="5"/>
                      <a:pt x="156" y="12"/>
                    </a:cubicBezTo>
                    <a:cubicBezTo>
                      <a:pt x="156" y="44"/>
                      <a:pt x="156" y="44"/>
                      <a:pt x="156" y="44"/>
                    </a:cubicBezTo>
                    <a:cubicBezTo>
                      <a:pt x="156" y="51"/>
                      <a:pt x="151" y="56"/>
                      <a:pt x="144" y="56"/>
                    </a:cubicBezTo>
                    <a:cubicBezTo>
                      <a:pt x="80" y="56"/>
                      <a:pt x="80" y="56"/>
                      <a:pt x="80" y="56"/>
                    </a:cubicBezTo>
                    <a:cubicBezTo>
                      <a:pt x="73" y="56"/>
                      <a:pt x="68" y="51"/>
                      <a:pt x="68" y="44"/>
                    </a:cubicBezTo>
                    <a:cubicBezTo>
                      <a:pt x="68" y="12"/>
                      <a:pt x="68" y="12"/>
                      <a:pt x="68" y="12"/>
                    </a:cubicBezTo>
                    <a:cubicBezTo>
                      <a:pt x="68" y="5"/>
                      <a:pt x="73" y="0"/>
                      <a:pt x="80" y="0"/>
                    </a:cubicBezTo>
                    <a:lnTo>
                      <a:pt x="144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03" name="ïSľíḋé">
                <a:extLst>
                  <a:ext uri="{FF2B5EF4-FFF2-40B4-BE49-F238E27FC236}">
                    <a16:creationId xmlns:a16="http://schemas.microsoft.com/office/drawing/2014/main" id="{38D32CAD-D4A0-4495-B33C-C59002A0CDA2}"/>
                  </a:ext>
                </a:extLst>
              </p:cNvPr>
              <p:cNvGrpSpPr/>
              <p:nvPr/>
            </p:nvGrpSpPr>
            <p:grpSpPr>
              <a:xfrm>
                <a:off x="6603024" y="1451708"/>
                <a:ext cx="2101361" cy="1230923"/>
                <a:chOff x="1605764" y="2532185"/>
                <a:chExt cx="2979615" cy="1230923"/>
              </a:xfrm>
            </p:grpSpPr>
            <p:sp>
              <p:nvSpPr>
                <p:cNvPr id="204" name="îṣ1idê">
                  <a:extLst>
                    <a:ext uri="{FF2B5EF4-FFF2-40B4-BE49-F238E27FC236}">
                      <a16:creationId xmlns:a16="http://schemas.microsoft.com/office/drawing/2014/main" id="{8A3C109F-8D46-4D7A-9DDC-E6BAE965BEC6}"/>
                    </a:ext>
                  </a:extLst>
                </p:cNvPr>
                <p:cNvSpPr/>
                <p:nvPr/>
              </p:nvSpPr>
              <p:spPr bwMode="auto">
                <a:xfrm>
                  <a:off x="1605764" y="2976194"/>
                  <a:ext cx="2979610" cy="7869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05" name="ïSlíḓê">
                  <a:extLst>
                    <a:ext uri="{FF2B5EF4-FFF2-40B4-BE49-F238E27FC236}">
                      <a16:creationId xmlns:a16="http://schemas.microsoft.com/office/drawing/2014/main" id="{1137FE48-E2D4-41F0-BE98-6F25EEB69D90}"/>
                    </a:ext>
                  </a:extLst>
                </p:cNvPr>
                <p:cNvSpPr txBox="1"/>
                <p:nvPr/>
              </p:nvSpPr>
              <p:spPr bwMode="auto">
                <a:xfrm>
                  <a:off x="1605765" y="2532185"/>
                  <a:ext cx="2979614" cy="44400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600" b="1" dirty="0"/>
                    <a:t>Text Here</a:t>
                  </a:r>
                </a:p>
              </p:txBody>
            </p:sp>
          </p:grpSp>
        </p:grpSp>
        <p:grpSp>
          <p:nvGrpSpPr>
            <p:cNvPr id="190" name="ïṧļiḋê">
              <a:extLst>
                <a:ext uri="{FF2B5EF4-FFF2-40B4-BE49-F238E27FC236}">
                  <a16:creationId xmlns:a16="http://schemas.microsoft.com/office/drawing/2014/main" id="{F8B7DC7E-D4E5-42FB-9667-60AC77A22C97}"/>
                </a:ext>
              </a:extLst>
            </p:cNvPr>
            <p:cNvGrpSpPr/>
            <p:nvPr/>
          </p:nvGrpSpPr>
          <p:grpSpPr>
            <a:xfrm>
              <a:off x="8033401" y="3016738"/>
              <a:ext cx="2854239" cy="1230923"/>
              <a:chOff x="8074599" y="3016738"/>
              <a:chExt cx="2854239" cy="1230923"/>
            </a:xfrm>
          </p:grpSpPr>
          <p:sp>
            <p:nvSpPr>
              <p:cNvPr id="198" name="i$lîdé">
                <a:extLst>
                  <a:ext uri="{FF2B5EF4-FFF2-40B4-BE49-F238E27FC236}">
                    <a16:creationId xmlns:a16="http://schemas.microsoft.com/office/drawing/2014/main" id="{79A980C5-967E-40A2-83B8-15DF1781ABA3}"/>
                  </a:ext>
                </a:extLst>
              </p:cNvPr>
              <p:cNvSpPr/>
              <p:nvPr/>
            </p:nvSpPr>
            <p:spPr>
              <a:xfrm>
                <a:off x="8074599" y="3318596"/>
                <a:ext cx="459465" cy="627206"/>
              </a:xfrm>
              <a:custGeom>
                <a:avLst/>
                <a:gdLst>
                  <a:gd name="T0" fmla="*/ 36 w 160"/>
                  <a:gd name="T1" fmla="*/ 16 h 216"/>
                  <a:gd name="T2" fmla="*/ 36 w 160"/>
                  <a:gd name="T3" fmla="*/ 24 h 216"/>
                  <a:gd name="T4" fmla="*/ 51 w 160"/>
                  <a:gd name="T5" fmla="*/ 40 h 216"/>
                  <a:gd name="T6" fmla="*/ 52 w 160"/>
                  <a:gd name="T7" fmla="*/ 40 h 216"/>
                  <a:gd name="T8" fmla="*/ 108 w 160"/>
                  <a:gd name="T9" fmla="*/ 40 h 216"/>
                  <a:gd name="T10" fmla="*/ 124 w 160"/>
                  <a:gd name="T11" fmla="*/ 25 h 216"/>
                  <a:gd name="T12" fmla="*/ 124 w 160"/>
                  <a:gd name="T13" fmla="*/ 24 h 216"/>
                  <a:gd name="T14" fmla="*/ 124 w 160"/>
                  <a:gd name="T15" fmla="*/ 16 h 216"/>
                  <a:gd name="T16" fmla="*/ 148 w 160"/>
                  <a:gd name="T17" fmla="*/ 16 h 216"/>
                  <a:gd name="T18" fmla="*/ 160 w 160"/>
                  <a:gd name="T19" fmla="*/ 28 h 216"/>
                  <a:gd name="T20" fmla="*/ 160 w 160"/>
                  <a:gd name="T21" fmla="*/ 204 h 216"/>
                  <a:gd name="T22" fmla="*/ 148 w 160"/>
                  <a:gd name="T23" fmla="*/ 216 h 216"/>
                  <a:gd name="T24" fmla="*/ 12 w 160"/>
                  <a:gd name="T25" fmla="*/ 216 h 216"/>
                  <a:gd name="T26" fmla="*/ 0 w 160"/>
                  <a:gd name="T27" fmla="*/ 204 h 216"/>
                  <a:gd name="T28" fmla="*/ 0 w 160"/>
                  <a:gd name="T29" fmla="*/ 28 h 216"/>
                  <a:gd name="T30" fmla="*/ 12 w 160"/>
                  <a:gd name="T31" fmla="*/ 16 h 216"/>
                  <a:gd name="T32" fmla="*/ 36 w 160"/>
                  <a:gd name="T33" fmla="*/ 16 h 216"/>
                  <a:gd name="T34" fmla="*/ 80 w 160"/>
                  <a:gd name="T35" fmla="*/ 140 h 216"/>
                  <a:gd name="T36" fmla="*/ 32 w 160"/>
                  <a:gd name="T37" fmla="*/ 140 h 216"/>
                  <a:gd name="T38" fmla="*/ 32 w 160"/>
                  <a:gd name="T39" fmla="*/ 148 h 216"/>
                  <a:gd name="T40" fmla="*/ 80 w 160"/>
                  <a:gd name="T41" fmla="*/ 148 h 216"/>
                  <a:gd name="T42" fmla="*/ 80 w 160"/>
                  <a:gd name="T43" fmla="*/ 140 h 216"/>
                  <a:gd name="T44" fmla="*/ 128 w 160"/>
                  <a:gd name="T45" fmla="*/ 108 h 216"/>
                  <a:gd name="T46" fmla="*/ 32 w 160"/>
                  <a:gd name="T47" fmla="*/ 108 h 216"/>
                  <a:gd name="T48" fmla="*/ 32 w 160"/>
                  <a:gd name="T49" fmla="*/ 116 h 216"/>
                  <a:gd name="T50" fmla="*/ 128 w 160"/>
                  <a:gd name="T51" fmla="*/ 116 h 216"/>
                  <a:gd name="T52" fmla="*/ 128 w 160"/>
                  <a:gd name="T53" fmla="*/ 108 h 216"/>
                  <a:gd name="T54" fmla="*/ 128 w 160"/>
                  <a:gd name="T55" fmla="*/ 76 h 216"/>
                  <a:gd name="T56" fmla="*/ 32 w 160"/>
                  <a:gd name="T57" fmla="*/ 76 h 216"/>
                  <a:gd name="T58" fmla="*/ 32 w 160"/>
                  <a:gd name="T59" fmla="*/ 84 h 216"/>
                  <a:gd name="T60" fmla="*/ 128 w 160"/>
                  <a:gd name="T61" fmla="*/ 84 h 216"/>
                  <a:gd name="T62" fmla="*/ 128 w 160"/>
                  <a:gd name="T63" fmla="*/ 76 h 216"/>
                  <a:gd name="T64" fmla="*/ 104 w 160"/>
                  <a:gd name="T65" fmla="*/ 0 h 216"/>
                  <a:gd name="T66" fmla="*/ 116 w 160"/>
                  <a:gd name="T67" fmla="*/ 12 h 216"/>
                  <a:gd name="T68" fmla="*/ 116 w 160"/>
                  <a:gd name="T69" fmla="*/ 20 h 216"/>
                  <a:gd name="T70" fmla="*/ 104 w 160"/>
                  <a:gd name="T71" fmla="*/ 32 h 216"/>
                  <a:gd name="T72" fmla="*/ 56 w 160"/>
                  <a:gd name="T73" fmla="*/ 32 h 216"/>
                  <a:gd name="T74" fmla="*/ 44 w 160"/>
                  <a:gd name="T75" fmla="*/ 20 h 216"/>
                  <a:gd name="T76" fmla="*/ 44 w 160"/>
                  <a:gd name="T77" fmla="*/ 12 h 216"/>
                  <a:gd name="T78" fmla="*/ 56 w 160"/>
                  <a:gd name="T79" fmla="*/ 0 h 216"/>
                  <a:gd name="T80" fmla="*/ 104 w 160"/>
                  <a:gd name="T8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0" h="216">
                    <a:moveTo>
                      <a:pt x="36" y="16"/>
                    </a:moveTo>
                    <a:cubicBezTo>
                      <a:pt x="36" y="24"/>
                      <a:pt x="36" y="24"/>
                      <a:pt x="36" y="24"/>
                    </a:cubicBezTo>
                    <a:cubicBezTo>
                      <a:pt x="36" y="33"/>
                      <a:pt x="43" y="40"/>
                      <a:pt x="51" y="40"/>
                    </a:cubicBezTo>
                    <a:cubicBezTo>
                      <a:pt x="52" y="40"/>
                      <a:pt x="52" y="40"/>
                      <a:pt x="52" y="40"/>
                    </a:cubicBezTo>
                    <a:cubicBezTo>
                      <a:pt x="108" y="40"/>
                      <a:pt x="108" y="40"/>
                      <a:pt x="108" y="40"/>
                    </a:cubicBezTo>
                    <a:cubicBezTo>
                      <a:pt x="117" y="40"/>
                      <a:pt x="124" y="33"/>
                      <a:pt x="124" y="25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4" y="16"/>
                      <a:pt x="124" y="16"/>
                      <a:pt x="124" y="16"/>
                    </a:cubicBezTo>
                    <a:cubicBezTo>
                      <a:pt x="148" y="16"/>
                      <a:pt x="148" y="16"/>
                      <a:pt x="148" y="16"/>
                    </a:cubicBezTo>
                    <a:cubicBezTo>
                      <a:pt x="155" y="16"/>
                      <a:pt x="160" y="21"/>
                      <a:pt x="160" y="28"/>
                    </a:cubicBezTo>
                    <a:cubicBezTo>
                      <a:pt x="160" y="204"/>
                      <a:pt x="160" y="204"/>
                      <a:pt x="160" y="204"/>
                    </a:cubicBezTo>
                    <a:cubicBezTo>
                      <a:pt x="160" y="211"/>
                      <a:pt x="155" y="216"/>
                      <a:pt x="148" y="216"/>
                    </a:cubicBezTo>
                    <a:cubicBezTo>
                      <a:pt x="12" y="216"/>
                      <a:pt x="12" y="216"/>
                      <a:pt x="12" y="216"/>
                    </a:cubicBezTo>
                    <a:cubicBezTo>
                      <a:pt x="5" y="216"/>
                      <a:pt x="0" y="211"/>
                      <a:pt x="0" y="20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1"/>
                      <a:pt x="5" y="16"/>
                      <a:pt x="12" y="16"/>
                    </a:cubicBezTo>
                    <a:lnTo>
                      <a:pt x="36" y="16"/>
                    </a:lnTo>
                    <a:close/>
                    <a:moveTo>
                      <a:pt x="80" y="140"/>
                    </a:moveTo>
                    <a:cubicBezTo>
                      <a:pt x="32" y="140"/>
                      <a:pt x="32" y="140"/>
                      <a:pt x="32" y="140"/>
                    </a:cubicBezTo>
                    <a:cubicBezTo>
                      <a:pt x="32" y="148"/>
                      <a:pt x="32" y="148"/>
                      <a:pt x="32" y="148"/>
                    </a:cubicBezTo>
                    <a:cubicBezTo>
                      <a:pt x="80" y="148"/>
                      <a:pt x="80" y="148"/>
                      <a:pt x="80" y="148"/>
                    </a:cubicBezTo>
                    <a:lnTo>
                      <a:pt x="80" y="140"/>
                    </a:lnTo>
                    <a:close/>
                    <a:moveTo>
                      <a:pt x="128" y="108"/>
                    </a:moveTo>
                    <a:cubicBezTo>
                      <a:pt x="32" y="108"/>
                      <a:pt x="32" y="108"/>
                      <a:pt x="32" y="108"/>
                    </a:cubicBezTo>
                    <a:cubicBezTo>
                      <a:pt x="32" y="116"/>
                      <a:pt x="32" y="116"/>
                      <a:pt x="32" y="116"/>
                    </a:cubicBezTo>
                    <a:cubicBezTo>
                      <a:pt x="128" y="116"/>
                      <a:pt x="128" y="116"/>
                      <a:pt x="128" y="116"/>
                    </a:cubicBezTo>
                    <a:lnTo>
                      <a:pt x="128" y="108"/>
                    </a:lnTo>
                    <a:close/>
                    <a:moveTo>
                      <a:pt x="128" y="76"/>
                    </a:moveTo>
                    <a:cubicBezTo>
                      <a:pt x="32" y="76"/>
                      <a:pt x="32" y="76"/>
                      <a:pt x="32" y="76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128" y="84"/>
                      <a:pt x="128" y="84"/>
                      <a:pt x="128" y="84"/>
                    </a:cubicBezTo>
                    <a:lnTo>
                      <a:pt x="128" y="76"/>
                    </a:lnTo>
                    <a:close/>
                    <a:moveTo>
                      <a:pt x="104" y="0"/>
                    </a:moveTo>
                    <a:cubicBezTo>
                      <a:pt x="111" y="0"/>
                      <a:pt x="116" y="5"/>
                      <a:pt x="116" y="12"/>
                    </a:cubicBezTo>
                    <a:cubicBezTo>
                      <a:pt x="116" y="20"/>
                      <a:pt x="116" y="20"/>
                      <a:pt x="116" y="20"/>
                    </a:cubicBezTo>
                    <a:cubicBezTo>
                      <a:pt x="116" y="27"/>
                      <a:pt x="111" y="32"/>
                      <a:pt x="104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49" y="32"/>
                      <a:pt x="44" y="27"/>
                      <a:pt x="44" y="20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5"/>
                      <a:pt x="49" y="0"/>
                      <a:pt x="56" y="0"/>
                    </a:cubicBezTo>
                    <a:lnTo>
                      <a:pt x="104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99" name="iṡ1ïdè">
                <a:extLst>
                  <a:ext uri="{FF2B5EF4-FFF2-40B4-BE49-F238E27FC236}">
                    <a16:creationId xmlns:a16="http://schemas.microsoft.com/office/drawing/2014/main" id="{63DE47C2-0F15-4E85-A1AF-F9D7B6F5A9E3}"/>
                  </a:ext>
                </a:extLst>
              </p:cNvPr>
              <p:cNvGrpSpPr/>
              <p:nvPr/>
            </p:nvGrpSpPr>
            <p:grpSpPr>
              <a:xfrm>
                <a:off x="8827477" y="3016738"/>
                <a:ext cx="2101361" cy="1230923"/>
                <a:chOff x="1605764" y="2532185"/>
                <a:chExt cx="2979615" cy="1230923"/>
              </a:xfrm>
            </p:grpSpPr>
            <p:sp>
              <p:nvSpPr>
                <p:cNvPr id="200" name="iŝ1ïďê">
                  <a:extLst>
                    <a:ext uri="{FF2B5EF4-FFF2-40B4-BE49-F238E27FC236}">
                      <a16:creationId xmlns:a16="http://schemas.microsoft.com/office/drawing/2014/main" id="{392ACF70-B895-4EF6-9835-9A74BD7062C5}"/>
                    </a:ext>
                  </a:extLst>
                </p:cNvPr>
                <p:cNvSpPr/>
                <p:nvPr/>
              </p:nvSpPr>
              <p:spPr bwMode="auto">
                <a:xfrm>
                  <a:off x="1605764" y="2976194"/>
                  <a:ext cx="2979610" cy="7869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01" name="íṥḻiḑê">
                  <a:extLst>
                    <a:ext uri="{FF2B5EF4-FFF2-40B4-BE49-F238E27FC236}">
                      <a16:creationId xmlns:a16="http://schemas.microsoft.com/office/drawing/2014/main" id="{901BF6B5-C74A-41A9-A005-E4E5B90D73E2}"/>
                    </a:ext>
                  </a:extLst>
                </p:cNvPr>
                <p:cNvSpPr txBox="1"/>
                <p:nvPr/>
              </p:nvSpPr>
              <p:spPr bwMode="auto">
                <a:xfrm>
                  <a:off x="1605765" y="2532185"/>
                  <a:ext cx="2979614" cy="44400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600" b="1" dirty="0"/>
                    <a:t>Text Here</a:t>
                  </a:r>
                </a:p>
              </p:txBody>
            </p:sp>
          </p:grpSp>
        </p:grpSp>
        <p:grpSp>
          <p:nvGrpSpPr>
            <p:cNvPr id="191" name="iṩḷíḍê">
              <a:extLst>
                <a:ext uri="{FF2B5EF4-FFF2-40B4-BE49-F238E27FC236}">
                  <a16:creationId xmlns:a16="http://schemas.microsoft.com/office/drawing/2014/main" id="{A278AC7A-A3F1-4337-B9E8-CE7A59E570D7}"/>
                </a:ext>
              </a:extLst>
            </p:cNvPr>
            <p:cNvGrpSpPr/>
            <p:nvPr/>
          </p:nvGrpSpPr>
          <p:grpSpPr>
            <a:xfrm>
              <a:off x="5758962" y="4581770"/>
              <a:ext cx="2945423" cy="1230923"/>
              <a:chOff x="5758962" y="4581770"/>
              <a:chExt cx="2945423" cy="1230923"/>
            </a:xfrm>
          </p:grpSpPr>
          <p:sp>
            <p:nvSpPr>
              <p:cNvPr id="194" name="îŝḻîde">
                <a:extLst>
                  <a:ext uri="{FF2B5EF4-FFF2-40B4-BE49-F238E27FC236}">
                    <a16:creationId xmlns:a16="http://schemas.microsoft.com/office/drawing/2014/main" id="{8AFE9B47-2FB9-434C-92B4-E274D3A4B5A5}"/>
                  </a:ext>
                </a:extLst>
              </p:cNvPr>
              <p:cNvSpPr/>
              <p:nvPr/>
            </p:nvSpPr>
            <p:spPr>
              <a:xfrm>
                <a:off x="5758962" y="4928575"/>
                <a:ext cx="641838" cy="537310"/>
              </a:xfrm>
              <a:custGeom>
                <a:avLst/>
                <a:gdLst>
                  <a:gd name="T0" fmla="*/ 203 w 222"/>
                  <a:gd name="T1" fmla="*/ 56 h 184"/>
                  <a:gd name="T2" fmla="*/ 222 w 222"/>
                  <a:gd name="T3" fmla="*/ 75 h 184"/>
                  <a:gd name="T4" fmla="*/ 221 w 222"/>
                  <a:gd name="T5" fmla="*/ 76 h 184"/>
                  <a:gd name="T6" fmla="*/ 216 w 222"/>
                  <a:gd name="T7" fmla="*/ 149 h 184"/>
                  <a:gd name="T8" fmla="*/ 204 w 222"/>
                  <a:gd name="T9" fmla="*/ 160 h 184"/>
                  <a:gd name="T10" fmla="*/ 191 w 222"/>
                  <a:gd name="T11" fmla="*/ 160 h 184"/>
                  <a:gd name="T12" fmla="*/ 191 w 222"/>
                  <a:gd name="T13" fmla="*/ 184 h 184"/>
                  <a:gd name="T14" fmla="*/ 183 w 222"/>
                  <a:gd name="T15" fmla="*/ 184 h 184"/>
                  <a:gd name="T16" fmla="*/ 183 w 222"/>
                  <a:gd name="T17" fmla="*/ 160 h 184"/>
                  <a:gd name="T18" fmla="*/ 39 w 222"/>
                  <a:gd name="T19" fmla="*/ 160 h 184"/>
                  <a:gd name="T20" fmla="*/ 39 w 222"/>
                  <a:gd name="T21" fmla="*/ 184 h 184"/>
                  <a:gd name="T22" fmla="*/ 31 w 222"/>
                  <a:gd name="T23" fmla="*/ 184 h 184"/>
                  <a:gd name="T24" fmla="*/ 31 w 222"/>
                  <a:gd name="T25" fmla="*/ 160 h 184"/>
                  <a:gd name="T26" fmla="*/ 18 w 222"/>
                  <a:gd name="T27" fmla="*/ 160 h 184"/>
                  <a:gd name="T28" fmla="*/ 6 w 222"/>
                  <a:gd name="T29" fmla="*/ 149 h 184"/>
                  <a:gd name="T30" fmla="*/ 1 w 222"/>
                  <a:gd name="T31" fmla="*/ 76 h 184"/>
                  <a:gd name="T32" fmla="*/ 18 w 222"/>
                  <a:gd name="T33" fmla="*/ 56 h 184"/>
                  <a:gd name="T34" fmla="*/ 19 w 222"/>
                  <a:gd name="T35" fmla="*/ 56 h 184"/>
                  <a:gd name="T36" fmla="*/ 43 w 222"/>
                  <a:gd name="T37" fmla="*/ 76 h 184"/>
                  <a:gd name="T38" fmla="*/ 51 w 222"/>
                  <a:gd name="T39" fmla="*/ 120 h 184"/>
                  <a:gd name="T40" fmla="*/ 171 w 222"/>
                  <a:gd name="T41" fmla="*/ 120 h 184"/>
                  <a:gd name="T42" fmla="*/ 179 w 222"/>
                  <a:gd name="T43" fmla="*/ 76 h 184"/>
                  <a:gd name="T44" fmla="*/ 203 w 222"/>
                  <a:gd name="T45" fmla="*/ 56 h 184"/>
                  <a:gd name="T46" fmla="*/ 175 w 222"/>
                  <a:gd name="T47" fmla="*/ 0 h 184"/>
                  <a:gd name="T48" fmla="*/ 203 w 222"/>
                  <a:gd name="T49" fmla="*/ 28 h 184"/>
                  <a:gd name="T50" fmla="*/ 203 w 222"/>
                  <a:gd name="T51" fmla="*/ 48 h 184"/>
                  <a:gd name="T52" fmla="*/ 200 w 222"/>
                  <a:gd name="T53" fmla="*/ 48 h 184"/>
                  <a:gd name="T54" fmla="*/ 173 w 222"/>
                  <a:gd name="T55" fmla="*/ 70 h 184"/>
                  <a:gd name="T56" fmla="*/ 173 w 222"/>
                  <a:gd name="T57" fmla="*/ 71 h 184"/>
                  <a:gd name="T58" fmla="*/ 165 w 222"/>
                  <a:gd name="T59" fmla="*/ 112 h 184"/>
                  <a:gd name="T60" fmla="*/ 57 w 222"/>
                  <a:gd name="T61" fmla="*/ 112 h 184"/>
                  <a:gd name="T62" fmla="*/ 49 w 222"/>
                  <a:gd name="T63" fmla="*/ 71 h 184"/>
                  <a:gd name="T64" fmla="*/ 22 w 222"/>
                  <a:gd name="T65" fmla="*/ 48 h 184"/>
                  <a:gd name="T66" fmla="*/ 23 w 222"/>
                  <a:gd name="T67" fmla="*/ 28 h 184"/>
                  <a:gd name="T68" fmla="*/ 51 w 222"/>
                  <a:gd name="T69" fmla="*/ 0 h 184"/>
                  <a:gd name="T70" fmla="*/ 175 w 222"/>
                  <a:gd name="T7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2" h="184">
                    <a:moveTo>
                      <a:pt x="203" y="56"/>
                    </a:moveTo>
                    <a:cubicBezTo>
                      <a:pt x="213" y="56"/>
                      <a:pt x="222" y="64"/>
                      <a:pt x="222" y="75"/>
                    </a:cubicBezTo>
                    <a:cubicBezTo>
                      <a:pt x="222" y="75"/>
                      <a:pt x="222" y="75"/>
                      <a:pt x="221" y="76"/>
                    </a:cubicBezTo>
                    <a:cubicBezTo>
                      <a:pt x="216" y="149"/>
                      <a:pt x="216" y="149"/>
                      <a:pt x="216" y="149"/>
                    </a:cubicBezTo>
                    <a:cubicBezTo>
                      <a:pt x="215" y="155"/>
                      <a:pt x="210" y="160"/>
                      <a:pt x="204" y="160"/>
                    </a:cubicBezTo>
                    <a:cubicBezTo>
                      <a:pt x="191" y="160"/>
                      <a:pt x="191" y="160"/>
                      <a:pt x="191" y="160"/>
                    </a:cubicBezTo>
                    <a:cubicBezTo>
                      <a:pt x="191" y="184"/>
                      <a:pt x="191" y="184"/>
                      <a:pt x="191" y="184"/>
                    </a:cubicBezTo>
                    <a:cubicBezTo>
                      <a:pt x="183" y="184"/>
                      <a:pt x="183" y="184"/>
                      <a:pt x="183" y="184"/>
                    </a:cubicBezTo>
                    <a:cubicBezTo>
                      <a:pt x="183" y="160"/>
                      <a:pt x="183" y="160"/>
                      <a:pt x="183" y="160"/>
                    </a:cubicBezTo>
                    <a:cubicBezTo>
                      <a:pt x="39" y="160"/>
                      <a:pt x="39" y="160"/>
                      <a:pt x="39" y="160"/>
                    </a:cubicBezTo>
                    <a:cubicBezTo>
                      <a:pt x="39" y="184"/>
                      <a:pt x="39" y="184"/>
                      <a:pt x="39" y="184"/>
                    </a:cubicBezTo>
                    <a:cubicBezTo>
                      <a:pt x="31" y="184"/>
                      <a:pt x="31" y="184"/>
                      <a:pt x="31" y="184"/>
                    </a:cubicBezTo>
                    <a:cubicBezTo>
                      <a:pt x="31" y="160"/>
                      <a:pt x="31" y="160"/>
                      <a:pt x="31" y="160"/>
                    </a:cubicBezTo>
                    <a:cubicBezTo>
                      <a:pt x="18" y="160"/>
                      <a:pt x="18" y="160"/>
                      <a:pt x="18" y="160"/>
                    </a:cubicBezTo>
                    <a:cubicBezTo>
                      <a:pt x="12" y="160"/>
                      <a:pt x="7" y="155"/>
                      <a:pt x="6" y="14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66"/>
                      <a:pt x="7" y="57"/>
                      <a:pt x="18" y="56"/>
                    </a:cubicBezTo>
                    <a:cubicBezTo>
                      <a:pt x="18" y="56"/>
                      <a:pt x="19" y="56"/>
                      <a:pt x="19" y="56"/>
                    </a:cubicBezTo>
                    <a:cubicBezTo>
                      <a:pt x="31" y="56"/>
                      <a:pt x="41" y="64"/>
                      <a:pt x="43" y="76"/>
                    </a:cubicBezTo>
                    <a:cubicBezTo>
                      <a:pt x="51" y="120"/>
                      <a:pt x="51" y="120"/>
                      <a:pt x="51" y="120"/>
                    </a:cubicBezTo>
                    <a:cubicBezTo>
                      <a:pt x="171" y="120"/>
                      <a:pt x="171" y="120"/>
                      <a:pt x="171" y="120"/>
                    </a:cubicBezTo>
                    <a:cubicBezTo>
                      <a:pt x="179" y="76"/>
                      <a:pt x="179" y="76"/>
                      <a:pt x="179" y="76"/>
                    </a:cubicBezTo>
                    <a:cubicBezTo>
                      <a:pt x="181" y="64"/>
                      <a:pt x="191" y="56"/>
                      <a:pt x="203" y="56"/>
                    </a:cubicBezTo>
                    <a:close/>
                    <a:moveTo>
                      <a:pt x="175" y="0"/>
                    </a:moveTo>
                    <a:cubicBezTo>
                      <a:pt x="190" y="0"/>
                      <a:pt x="203" y="13"/>
                      <a:pt x="203" y="28"/>
                    </a:cubicBezTo>
                    <a:cubicBezTo>
                      <a:pt x="203" y="48"/>
                      <a:pt x="203" y="48"/>
                      <a:pt x="203" y="48"/>
                    </a:cubicBezTo>
                    <a:cubicBezTo>
                      <a:pt x="202" y="48"/>
                      <a:pt x="201" y="48"/>
                      <a:pt x="200" y="48"/>
                    </a:cubicBezTo>
                    <a:cubicBezTo>
                      <a:pt x="187" y="48"/>
                      <a:pt x="176" y="57"/>
                      <a:pt x="173" y="70"/>
                    </a:cubicBezTo>
                    <a:cubicBezTo>
                      <a:pt x="173" y="71"/>
                      <a:pt x="173" y="71"/>
                      <a:pt x="173" y="71"/>
                    </a:cubicBezTo>
                    <a:cubicBezTo>
                      <a:pt x="165" y="112"/>
                      <a:pt x="165" y="112"/>
                      <a:pt x="165" y="112"/>
                    </a:cubicBezTo>
                    <a:cubicBezTo>
                      <a:pt x="57" y="112"/>
                      <a:pt x="57" y="112"/>
                      <a:pt x="57" y="112"/>
                    </a:cubicBezTo>
                    <a:cubicBezTo>
                      <a:pt x="49" y="71"/>
                      <a:pt x="49" y="71"/>
                      <a:pt x="49" y="71"/>
                    </a:cubicBezTo>
                    <a:cubicBezTo>
                      <a:pt x="47" y="57"/>
                      <a:pt x="35" y="48"/>
                      <a:pt x="22" y="4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13"/>
                      <a:pt x="36" y="0"/>
                      <a:pt x="51" y="0"/>
                    </a:cubicBezTo>
                    <a:lnTo>
                      <a:pt x="175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95" name="íšļîdé">
                <a:extLst>
                  <a:ext uri="{FF2B5EF4-FFF2-40B4-BE49-F238E27FC236}">
                    <a16:creationId xmlns:a16="http://schemas.microsoft.com/office/drawing/2014/main" id="{47B24A90-C675-465C-B169-84FBFF137B95}"/>
                  </a:ext>
                </a:extLst>
              </p:cNvPr>
              <p:cNvGrpSpPr/>
              <p:nvPr/>
            </p:nvGrpSpPr>
            <p:grpSpPr>
              <a:xfrm>
                <a:off x="6603024" y="4581770"/>
                <a:ext cx="2101361" cy="1230923"/>
                <a:chOff x="1605764" y="2532185"/>
                <a:chExt cx="2979615" cy="1230923"/>
              </a:xfrm>
            </p:grpSpPr>
            <p:sp>
              <p:nvSpPr>
                <p:cNvPr id="196" name="ïšḻïde">
                  <a:extLst>
                    <a:ext uri="{FF2B5EF4-FFF2-40B4-BE49-F238E27FC236}">
                      <a16:creationId xmlns:a16="http://schemas.microsoft.com/office/drawing/2014/main" id="{728F99EF-FFD5-4926-B28C-5CC90098661B}"/>
                    </a:ext>
                  </a:extLst>
                </p:cNvPr>
                <p:cNvSpPr/>
                <p:nvPr/>
              </p:nvSpPr>
              <p:spPr bwMode="auto">
                <a:xfrm>
                  <a:off x="1605764" y="2976194"/>
                  <a:ext cx="2979610" cy="7869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97" name="ïšḷïďé">
                  <a:extLst>
                    <a:ext uri="{FF2B5EF4-FFF2-40B4-BE49-F238E27FC236}">
                      <a16:creationId xmlns:a16="http://schemas.microsoft.com/office/drawing/2014/main" id="{682A8287-6EC0-4625-9DCE-EF48FCD455BC}"/>
                    </a:ext>
                  </a:extLst>
                </p:cNvPr>
                <p:cNvSpPr txBox="1"/>
                <p:nvPr/>
              </p:nvSpPr>
              <p:spPr bwMode="auto">
                <a:xfrm>
                  <a:off x="1605765" y="2532185"/>
                  <a:ext cx="2979614" cy="44400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600" b="1" dirty="0"/>
                    <a:t>Text Here</a:t>
                  </a:r>
                </a:p>
              </p:txBody>
            </p:sp>
          </p:grpSp>
        </p:grpSp>
        <p:cxnSp>
          <p:nvCxnSpPr>
            <p:cNvPr id="192" name="ïsļíḑé">
              <a:extLst>
                <a:ext uri="{FF2B5EF4-FFF2-40B4-BE49-F238E27FC236}">
                  <a16:creationId xmlns:a16="http://schemas.microsoft.com/office/drawing/2014/main" id="{934A91B6-DFA4-493E-9244-03BE716A9DE2}"/>
                </a:ext>
              </a:extLst>
            </p:cNvPr>
            <p:cNvCxnSpPr/>
            <p:nvPr/>
          </p:nvCxnSpPr>
          <p:spPr>
            <a:xfrm>
              <a:off x="6690946" y="2849685"/>
              <a:ext cx="482795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ïṧ1íḍè">
              <a:extLst>
                <a:ext uri="{FF2B5EF4-FFF2-40B4-BE49-F238E27FC236}">
                  <a16:creationId xmlns:a16="http://schemas.microsoft.com/office/drawing/2014/main" id="{2EB010BB-B125-4F31-BD13-1E21336DD280}"/>
                </a:ext>
              </a:extLst>
            </p:cNvPr>
            <p:cNvCxnSpPr/>
            <p:nvPr/>
          </p:nvCxnSpPr>
          <p:spPr>
            <a:xfrm>
              <a:off x="6690946" y="4414716"/>
              <a:ext cx="482795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0488078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ļï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ṧļíḍê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slîḍè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 dirty="0"/>
              <a:t>请在插入菜单</a:t>
            </a:r>
            <a:r>
              <a:rPr lang="en-US" altLang="zh-CN" dirty="0"/>
              <a:t>—</a:t>
            </a:r>
            <a:r>
              <a:rPr lang="zh-CN" altLang="en-US" dirty="0"/>
              <a:t>页眉和页脚中修改此文本</a:t>
            </a:r>
          </a:p>
        </p:txBody>
      </p:sp>
      <p:sp>
        <p:nvSpPr>
          <p:cNvPr id="4" name="ïṧḻiḓe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îSľïḓe">
            <a:extLst>
              <a:ext uri="{FF2B5EF4-FFF2-40B4-BE49-F238E27FC236}">
                <a16:creationId xmlns:a16="http://schemas.microsoft.com/office/drawing/2014/main" id="{82B869A5-F9E4-4596-A45C-DBF2B2341554}"/>
              </a:ext>
            </a:extLst>
          </p:cNvPr>
          <p:cNvSpPr/>
          <p:nvPr/>
        </p:nvSpPr>
        <p:spPr>
          <a:xfrm>
            <a:off x="-38100" y="1473473"/>
            <a:ext cx="12240479" cy="2280327"/>
          </a:xfrm>
          <a:prstGeom prst="rect">
            <a:avLst/>
          </a:prstGeom>
          <a:blipFill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2" name="îṥľîḍé">
            <a:extLst>
              <a:ext uri="{FF2B5EF4-FFF2-40B4-BE49-F238E27FC236}">
                <a16:creationId xmlns:a16="http://schemas.microsoft.com/office/drawing/2014/main" id="{C0BFDD11-B634-453A-A145-F0B4D1D751F6}"/>
              </a:ext>
            </a:extLst>
          </p:cNvPr>
          <p:cNvSpPr/>
          <p:nvPr/>
        </p:nvSpPr>
        <p:spPr>
          <a:xfrm>
            <a:off x="3402089" y="3135281"/>
            <a:ext cx="2586493" cy="1086852"/>
          </a:xfrm>
          <a:prstGeom prst="roundRect">
            <a:avLst>
              <a:gd name="adj" fmla="val 5585"/>
            </a:avLst>
          </a:prstGeom>
          <a:solidFill>
            <a:schemeClr val="bg1">
              <a:lumMod val="95000"/>
              <a:alpha val="72000"/>
            </a:schemeClr>
          </a:solidFill>
          <a:ln w="762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4" name="îşľîḑe">
            <a:extLst>
              <a:ext uri="{FF2B5EF4-FFF2-40B4-BE49-F238E27FC236}">
                <a16:creationId xmlns:a16="http://schemas.microsoft.com/office/drawing/2014/main" id="{81C3CC16-00A5-4701-8257-EECFCA4E58DE}"/>
              </a:ext>
            </a:extLst>
          </p:cNvPr>
          <p:cNvSpPr/>
          <p:nvPr/>
        </p:nvSpPr>
        <p:spPr>
          <a:xfrm>
            <a:off x="6172353" y="3134013"/>
            <a:ext cx="2586493" cy="1086852"/>
          </a:xfrm>
          <a:prstGeom prst="roundRect">
            <a:avLst>
              <a:gd name="adj" fmla="val 5585"/>
            </a:avLst>
          </a:prstGeom>
          <a:solidFill>
            <a:schemeClr val="bg1">
              <a:lumMod val="95000"/>
              <a:alpha val="72000"/>
            </a:schemeClr>
          </a:solidFill>
          <a:ln w="762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6" name="iṥḷïḍè">
            <a:extLst>
              <a:ext uri="{FF2B5EF4-FFF2-40B4-BE49-F238E27FC236}">
                <a16:creationId xmlns:a16="http://schemas.microsoft.com/office/drawing/2014/main" id="{8F280D5B-72E7-4EFF-9DD7-7EB082764710}"/>
              </a:ext>
            </a:extLst>
          </p:cNvPr>
          <p:cNvSpPr/>
          <p:nvPr/>
        </p:nvSpPr>
        <p:spPr>
          <a:xfrm>
            <a:off x="8942617" y="3132745"/>
            <a:ext cx="2586493" cy="1086852"/>
          </a:xfrm>
          <a:prstGeom prst="roundRect">
            <a:avLst>
              <a:gd name="adj" fmla="val 5585"/>
            </a:avLst>
          </a:prstGeom>
          <a:solidFill>
            <a:schemeClr val="bg1">
              <a:lumMod val="95000"/>
              <a:alpha val="72000"/>
            </a:schemeClr>
          </a:solidFill>
          <a:ln w="762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0" name="íSlîḋé">
            <a:extLst>
              <a:ext uri="{FF2B5EF4-FFF2-40B4-BE49-F238E27FC236}">
                <a16:creationId xmlns:a16="http://schemas.microsoft.com/office/drawing/2014/main" id="{AA81CF38-96A7-4DB2-ADF5-E400CADE3C2A}"/>
              </a:ext>
            </a:extLst>
          </p:cNvPr>
          <p:cNvSpPr/>
          <p:nvPr/>
        </p:nvSpPr>
        <p:spPr>
          <a:xfrm>
            <a:off x="631825" y="3136549"/>
            <a:ext cx="2586493" cy="1086852"/>
          </a:xfrm>
          <a:prstGeom prst="roundRect">
            <a:avLst>
              <a:gd name="adj" fmla="val 5585"/>
            </a:avLst>
          </a:prstGeom>
          <a:solidFill>
            <a:schemeClr val="bg1">
              <a:lumMod val="95000"/>
              <a:alpha val="72000"/>
            </a:schemeClr>
          </a:solidFill>
          <a:ln w="762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grpSp>
        <p:nvGrpSpPr>
          <p:cNvPr id="12" name="îśļíḍè">
            <a:extLst>
              <a:ext uri="{FF2B5EF4-FFF2-40B4-BE49-F238E27FC236}">
                <a16:creationId xmlns:a16="http://schemas.microsoft.com/office/drawing/2014/main" id="{3A2D26D1-93C1-412A-B5FB-B40AC39FC4E5}"/>
              </a:ext>
            </a:extLst>
          </p:cNvPr>
          <p:cNvGrpSpPr/>
          <p:nvPr/>
        </p:nvGrpSpPr>
        <p:grpSpPr>
          <a:xfrm>
            <a:off x="1576268" y="3875813"/>
            <a:ext cx="690405" cy="690405"/>
            <a:chOff x="1510688" y="3875813"/>
            <a:chExt cx="721035" cy="721035"/>
          </a:xfrm>
        </p:grpSpPr>
        <p:sp>
          <p:nvSpPr>
            <p:cNvPr id="35" name="î$ḻíḓê">
              <a:extLst>
                <a:ext uri="{FF2B5EF4-FFF2-40B4-BE49-F238E27FC236}">
                  <a16:creationId xmlns:a16="http://schemas.microsoft.com/office/drawing/2014/main" id="{D6717C2E-470D-49B7-92D8-F29AF8C056F0}"/>
                </a:ext>
              </a:extLst>
            </p:cNvPr>
            <p:cNvSpPr/>
            <p:nvPr/>
          </p:nvSpPr>
          <p:spPr>
            <a:xfrm>
              <a:off x="1510688" y="3875813"/>
              <a:ext cx="721035" cy="721035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ṩḷîḋé">
              <a:extLst>
                <a:ext uri="{FF2B5EF4-FFF2-40B4-BE49-F238E27FC236}">
                  <a16:creationId xmlns:a16="http://schemas.microsoft.com/office/drawing/2014/main" id="{6E7DE73A-6BBB-4457-8D20-C3E1BE585E06}"/>
                </a:ext>
              </a:extLst>
            </p:cNvPr>
            <p:cNvSpPr/>
            <p:nvPr/>
          </p:nvSpPr>
          <p:spPr bwMode="auto">
            <a:xfrm>
              <a:off x="1757563" y="4081199"/>
              <a:ext cx="227285" cy="310263"/>
            </a:xfrm>
            <a:custGeom>
              <a:avLst/>
              <a:gdLst>
                <a:gd name="T0" fmla="*/ 36 w 160"/>
                <a:gd name="T1" fmla="*/ 16 h 216"/>
                <a:gd name="T2" fmla="*/ 36 w 160"/>
                <a:gd name="T3" fmla="*/ 24 h 216"/>
                <a:gd name="T4" fmla="*/ 51 w 160"/>
                <a:gd name="T5" fmla="*/ 40 h 216"/>
                <a:gd name="T6" fmla="*/ 52 w 160"/>
                <a:gd name="T7" fmla="*/ 40 h 216"/>
                <a:gd name="T8" fmla="*/ 108 w 160"/>
                <a:gd name="T9" fmla="*/ 40 h 216"/>
                <a:gd name="T10" fmla="*/ 124 w 160"/>
                <a:gd name="T11" fmla="*/ 25 h 216"/>
                <a:gd name="T12" fmla="*/ 124 w 160"/>
                <a:gd name="T13" fmla="*/ 24 h 216"/>
                <a:gd name="T14" fmla="*/ 124 w 160"/>
                <a:gd name="T15" fmla="*/ 16 h 216"/>
                <a:gd name="T16" fmla="*/ 148 w 160"/>
                <a:gd name="T17" fmla="*/ 16 h 216"/>
                <a:gd name="T18" fmla="*/ 160 w 160"/>
                <a:gd name="T19" fmla="*/ 28 h 216"/>
                <a:gd name="T20" fmla="*/ 160 w 160"/>
                <a:gd name="T21" fmla="*/ 204 h 216"/>
                <a:gd name="T22" fmla="*/ 148 w 160"/>
                <a:gd name="T23" fmla="*/ 216 h 216"/>
                <a:gd name="T24" fmla="*/ 12 w 160"/>
                <a:gd name="T25" fmla="*/ 216 h 216"/>
                <a:gd name="T26" fmla="*/ 0 w 160"/>
                <a:gd name="T27" fmla="*/ 204 h 216"/>
                <a:gd name="T28" fmla="*/ 0 w 160"/>
                <a:gd name="T29" fmla="*/ 28 h 216"/>
                <a:gd name="T30" fmla="*/ 12 w 160"/>
                <a:gd name="T31" fmla="*/ 16 h 216"/>
                <a:gd name="T32" fmla="*/ 36 w 160"/>
                <a:gd name="T33" fmla="*/ 16 h 216"/>
                <a:gd name="T34" fmla="*/ 80 w 160"/>
                <a:gd name="T35" fmla="*/ 140 h 216"/>
                <a:gd name="T36" fmla="*/ 32 w 160"/>
                <a:gd name="T37" fmla="*/ 140 h 216"/>
                <a:gd name="T38" fmla="*/ 32 w 160"/>
                <a:gd name="T39" fmla="*/ 148 h 216"/>
                <a:gd name="T40" fmla="*/ 80 w 160"/>
                <a:gd name="T41" fmla="*/ 148 h 216"/>
                <a:gd name="T42" fmla="*/ 80 w 160"/>
                <a:gd name="T43" fmla="*/ 140 h 216"/>
                <a:gd name="T44" fmla="*/ 128 w 160"/>
                <a:gd name="T45" fmla="*/ 108 h 216"/>
                <a:gd name="T46" fmla="*/ 32 w 160"/>
                <a:gd name="T47" fmla="*/ 108 h 216"/>
                <a:gd name="T48" fmla="*/ 32 w 160"/>
                <a:gd name="T49" fmla="*/ 116 h 216"/>
                <a:gd name="T50" fmla="*/ 128 w 160"/>
                <a:gd name="T51" fmla="*/ 116 h 216"/>
                <a:gd name="T52" fmla="*/ 128 w 160"/>
                <a:gd name="T53" fmla="*/ 108 h 216"/>
                <a:gd name="T54" fmla="*/ 128 w 160"/>
                <a:gd name="T55" fmla="*/ 76 h 216"/>
                <a:gd name="T56" fmla="*/ 32 w 160"/>
                <a:gd name="T57" fmla="*/ 76 h 216"/>
                <a:gd name="T58" fmla="*/ 32 w 160"/>
                <a:gd name="T59" fmla="*/ 84 h 216"/>
                <a:gd name="T60" fmla="*/ 128 w 160"/>
                <a:gd name="T61" fmla="*/ 84 h 216"/>
                <a:gd name="T62" fmla="*/ 128 w 160"/>
                <a:gd name="T63" fmla="*/ 76 h 216"/>
                <a:gd name="T64" fmla="*/ 104 w 160"/>
                <a:gd name="T65" fmla="*/ 0 h 216"/>
                <a:gd name="T66" fmla="*/ 116 w 160"/>
                <a:gd name="T67" fmla="*/ 12 h 216"/>
                <a:gd name="T68" fmla="*/ 116 w 160"/>
                <a:gd name="T69" fmla="*/ 20 h 216"/>
                <a:gd name="T70" fmla="*/ 104 w 160"/>
                <a:gd name="T71" fmla="*/ 32 h 216"/>
                <a:gd name="T72" fmla="*/ 56 w 160"/>
                <a:gd name="T73" fmla="*/ 32 h 216"/>
                <a:gd name="T74" fmla="*/ 44 w 160"/>
                <a:gd name="T75" fmla="*/ 20 h 216"/>
                <a:gd name="T76" fmla="*/ 44 w 160"/>
                <a:gd name="T77" fmla="*/ 12 h 216"/>
                <a:gd name="T78" fmla="*/ 56 w 160"/>
                <a:gd name="T79" fmla="*/ 0 h 216"/>
                <a:gd name="T80" fmla="*/ 104 w 160"/>
                <a:gd name="T8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216">
                  <a:moveTo>
                    <a:pt x="36" y="16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33"/>
                    <a:pt x="43" y="40"/>
                    <a:pt x="51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17" y="40"/>
                    <a:pt x="124" y="33"/>
                    <a:pt x="124" y="25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55" y="16"/>
                    <a:pt x="160" y="21"/>
                    <a:pt x="160" y="28"/>
                  </a:cubicBezTo>
                  <a:cubicBezTo>
                    <a:pt x="160" y="204"/>
                    <a:pt x="160" y="204"/>
                    <a:pt x="160" y="204"/>
                  </a:cubicBezTo>
                  <a:cubicBezTo>
                    <a:pt x="160" y="211"/>
                    <a:pt x="155" y="216"/>
                    <a:pt x="148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5" y="216"/>
                    <a:pt x="0" y="211"/>
                    <a:pt x="0" y="20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1"/>
                    <a:pt x="5" y="16"/>
                    <a:pt x="12" y="16"/>
                  </a:cubicBezTo>
                  <a:lnTo>
                    <a:pt x="36" y="16"/>
                  </a:lnTo>
                  <a:close/>
                  <a:moveTo>
                    <a:pt x="80" y="140"/>
                  </a:moveTo>
                  <a:cubicBezTo>
                    <a:pt x="32" y="140"/>
                    <a:pt x="32" y="140"/>
                    <a:pt x="32" y="14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80" y="148"/>
                    <a:pt x="80" y="148"/>
                    <a:pt x="80" y="148"/>
                  </a:cubicBezTo>
                  <a:lnTo>
                    <a:pt x="80" y="140"/>
                  </a:lnTo>
                  <a:close/>
                  <a:moveTo>
                    <a:pt x="128" y="108"/>
                  </a:moveTo>
                  <a:cubicBezTo>
                    <a:pt x="32" y="108"/>
                    <a:pt x="32" y="108"/>
                    <a:pt x="32" y="108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128" y="116"/>
                    <a:pt x="128" y="116"/>
                    <a:pt x="128" y="116"/>
                  </a:cubicBezTo>
                  <a:lnTo>
                    <a:pt x="128" y="108"/>
                  </a:lnTo>
                  <a:close/>
                  <a:moveTo>
                    <a:pt x="128" y="76"/>
                  </a:moveTo>
                  <a:cubicBezTo>
                    <a:pt x="32" y="76"/>
                    <a:pt x="32" y="76"/>
                    <a:pt x="32" y="76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128" y="84"/>
                    <a:pt x="128" y="84"/>
                    <a:pt x="128" y="84"/>
                  </a:cubicBezTo>
                  <a:lnTo>
                    <a:pt x="128" y="76"/>
                  </a:lnTo>
                  <a:close/>
                  <a:moveTo>
                    <a:pt x="104" y="0"/>
                  </a:moveTo>
                  <a:cubicBezTo>
                    <a:pt x="111" y="0"/>
                    <a:pt x="116" y="5"/>
                    <a:pt x="116" y="12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7"/>
                    <a:pt x="111" y="32"/>
                    <a:pt x="104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49" y="32"/>
                    <a:pt x="44" y="27"/>
                    <a:pt x="44" y="20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5"/>
                    <a:pt x="49" y="0"/>
                    <a:pt x="56" y="0"/>
                  </a:cubicBezTo>
                  <a:lnTo>
                    <a:pt x="104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11" name="iś1ïdè">
            <a:extLst>
              <a:ext uri="{FF2B5EF4-FFF2-40B4-BE49-F238E27FC236}">
                <a16:creationId xmlns:a16="http://schemas.microsoft.com/office/drawing/2014/main" id="{10D06B0F-4E2D-400E-857F-93E71AE8D699}"/>
              </a:ext>
            </a:extLst>
          </p:cNvPr>
          <p:cNvGrpSpPr/>
          <p:nvPr/>
        </p:nvGrpSpPr>
        <p:grpSpPr>
          <a:xfrm>
            <a:off x="4347732" y="3875813"/>
            <a:ext cx="690405" cy="690405"/>
            <a:chOff x="4334817" y="3875813"/>
            <a:chExt cx="721035" cy="721035"/>
          </a:xfrm>
        </p:grpSpPr>
        <p:sp>
          <p:nvSpPr>
            <p:cNvPr id="33" name="íṧḷïḑê">
              <a:extLst>
                <a:ext uri="{FF2B5EF4-FFF2-40B4-BE49-F238E27FC236}">
                  <a16:creationId xmlns:a16="http://schemas.microsoft.com/office/drawing/2014/main" id="{948C0273-A209-4D14-869F-06A247C3A065}"/>
                </a:ext>
              </a:extLst>
            </p:cNvPr>
            <p:cNvSpPr/>
            <p:nvPr/>
          </p:nvSpPr>
          <p:spPr>
            <a:xfrm>
              <a:off x="4334817" y="3875813"/>
              <a:ext cx="721035" cy="721035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Slïďe">
              <a:extLst>
                <a:ext uri="{FF2B5EF4-FFF2-40B4-BE49-F238E27FC236}">
                  <a16:creationId xmlns:a16="http://schemas.microsoft.com/office/drawing/2014/main" id="{04B5C592-666C-4EAB-BDD1-35FB53250812}"/>
                </a:ext>
              </a:extLst>
            </p:cNvPr>
            <p:cNvSpPr/>
            <p:nvPr/>
          </p:nvSpPr>
          <p:spPr bwMode="auto">
            <a:xfrm>
              <a:off x="4555161" y="4081200"/>
              <a:ext cx="280348" cy="310262"/>
            </a:xfrm>
            <a:custGeom>
              <a:avLst/>
              <a:gdLst>
                <a:gd name="T0" fmla="*/ 104 w 208"/>
                <a:gd name="T1" fmla="*/ 0 h 228"/>
                <a:gd name="T2" fmla="*/ 208 w 208"/>
                <a:gd name="T3" fmla="*/ 104 h 228"/>
                <a:gd name="T4" fmla="*/ 136 w 208"/>
                <a:gd name="T5" fmla="*/ 203 h 228"/>
                <a:gd name="T6" fmla="*/ 145 w 208"/>
                <a:gd name="T7" fmla="*/ 220 h 228"/>
                <a:gd name="T8" fmla="*/ 176 w 208"/>
                <a:gd name="T9" fmla="*/ 220 h 228"/>
                <a:gd name="T10" fmla="*/ 176 w 208"/>
                <a:gd name="T11" fmla="*/ 228 h 228"/>
                <a:gd name="T12" fmla="*/ 32 w 208"/>
                <a:gd name="T13" fmla="*/ 228 h 228"/>
                <a:gd name="T14" fmla="*/ 32 w 208"/>
                <a:gd name="T15" fmla="*/ 220 h 228"/>
                <a:gd name="T16" fmla="*/ 63 w 208"/>
                <a:gd name="T17" fmla="*/ 220 h 228"/>
                <a:gd name="T18" fmla="*/ 72 w 208"/>
                <a:gd name="T19" fmla="*/ 203 h 228"/>
                <a:gd name="T20" fmla="*/ 0 w 208"/>
                <a:gd name="T21" fmla="*/ 104 h 228"/>
                <a:gd name="T22" fmla="*/ 104 w 208"/>
                <a:gd name="T23" fmla="*/ 0 h 228"/>
                <a:gd name="T24" fmla="*/ 80 w 208"/>
                <a:gd name="T25" fmla="*/ 205 h 228"/>
                <a:gd name="T26" fmla="*/ 72 w 208"/>
                <a:gd name="T27" fmla="*/ 220 h 228"/>
                <a:gd name="T28" fmla="*/ 136 w 208"/>
                <a:gd name="T29" fmla="*/ 220 h 228"/>
                <a:gd name="T30" fmla="*/ 128 w 208"/>
                <a:gd name="T31" fmla="*/ 205 h 228"/>
                <a:gd name="T32" fmla="*/ 104 w 208"/>
                <a:gd name="T33" fmla="*/ 208 h 228"/>
                <a:gd name="T34" fmla="*/ 80 w 208"/>
                <a:gd name="T35" fmla="*/ 205 h 228"/>
                <a:gd name="T36" fmla="*/ 104 w 208"/>
                <a:gd name="T37" fmla="*/ 60 h 228"/>
                <a:gd name="T38" fmla="*/ 60 w 208"/>
                <a:gd name="T39" fmla="*/ 104 h 228"/>
                <a:gd name="T40" fmla="*/ 104 w 208"/>
                <a:gd name="T41" fmla="*/ 148 h 228"/>
                <a:gd name="T42" fmla="*/ 148 w 208"/>
                <a:gd name="T43" fmla="*/ 104 h 228"/>
                <a:gd name="T44" fmla="*/ 104 w 208"/>
                <a:gd name="T45" fmla="*/ 60 h 228"/>
                <a:gd name="T46" fmla="*/ 154 w 208"/>
                <a:gd name="T47" fmla="*/ 48 h 228"/>
                <a:gd name="T48" fmla="*/ 148 w 208"/>
                <a:gd name="T49" fmla="*/ 54 h 228"/>
                <a:gd name="T50" fmla="*/ 154 w 208"/>
                <a:gd name="T51" fmla="*/ 60 h 228"/>
                <a:gd name="T52" fmla="*/ 160 w 208"/>
                <a:gd name="T53" fmla="*/ 54 h 228"/>
                <a:gd name="T54" fmla="*/ 154 w 208"/>
                <a:gd name="T55" fmla="*/ 4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8" h="228">
                  <a:moveTo>
                    <a:pt x="104" y="0"/>
                  </a:moveTo>
                  <a:cubicBezTo>
                    <a:pt x="161" y="0"/>
                    <a:pt x="208" y="47"/>
                    <a:pt x="208" y="104"/>
                  </a:cubicBezTo>
                  <a:cubicBezTo>
                    <a:pt x="208" y="150"/>
                    <a:pt x="178" y="190"/>
                    <a:pt x="136" y="203"/>
                  </a:cubicBezTo>
                  <a:cubicBezTo>
                    <a:pt x="145" y="220"/>
                    <a:pt x="145" y="220"/>
                    <a:pt x="145" y="220"/>
                  </a:cubicBezTo>
                  <a:cubicBezTo>
                    <a:pt x="176" y="220"/>
                    <a:pt x="176" y="220"/>
                    <a:pt x="176" y="220"/>
                  </a:cubicBezTo>
                  <a:cubicBezTo>
                    <a:pt x="176" y="228"/>
                    <a:pt x="176" y="228"/>
                    <a:pt x="176" y="228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20"/>
                    <a:pt x="32" y="220"/>
                    <a:pt x="32" y="220"/>
                  </a:cubicBezTo>
                  <a:cubicBezTo>
                    <a:pt x="63" y="220"/>
                    <a:pt x="63" y="220"/>
                    <a:pt x="63" y="220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30" y="190"/>
                    <a:pt x="0" y="150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lose/>
                  <a:moveTo>
                    <a:pt x="80" y="205"/>
                  </a:moveTo>
                  <a:cubicBezTo>
                    <a:pt x="72" y="220"/>
                    <a:pt x="72" y="220"/>
                    <a:pt x="72" y="220"/>
                  </a:cubicBezTo>
                  <a:cubicBezTo>
                    <a:pt x="136" y="220"/>
                    <a:pt x="136" y="220"/>
                    <a:pt x="136" y="22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20" y="207"/>
                    <a:pt x="112" y="208"/>
                    <a:pt x="104" y="208"/>
                  </a:cubicBezTo>
                  <a:cubicBezTo>
                    <a:pt x="96" y="208"/>
                    <a:pt x="88" y="207"/>
                    <a:pt x="80" y="205"/>
                  </a:cubicBezTo>
                  <a:close/>
                  <a:moveTo>
                    <a:pt x="104" y="60"/>
                  </a:moveTo>
                  <a:cubicBezTo>
                    <a:pt x="80" y="60"/>
                    <a:pt x="60" y="80"/>
                    <a:pt x="60" y="104"/>
                  </a:cubicBezTo>
                  <a:cubicBezTo>
                    <a:pt x="60" y="128"/>
                    <a:pt x="80" y="148"/>
                    <a:pt x="104" y="148"/>
                  </a:cubicBezTo>
                  <a:cubicBezTo>
                    <a:pt x="128" y="148"/>
                    <a:pt x="148" y="128"/>
                    <a:pt x="148" y="104"/>
                  </a:cubicBezTo>
                  <a:cubicBezTo>
                    <a:pt x="148" y="80"/>
                    <a:pt x="128" y="60"/>
                    <a:pt x="104" y="60"/>
                  </a:cubicBezTo>
                  <a:close/>
                  <a:moveTo>
                    <a:pt x="154" y="48"/>
                  </a:moveTo>
                  <a:cubicBezTo>
                    <a:pt x="151" y="48"/>
                    <a:pt x="148" y="51"/>
                    <a:pt x="148" y="54"/>
                  </a:cubicBezTo>
                  <a:cubicBezTo>
                    <a:pt x="148" y="57"/>
                    <a:pt x="151" y="60"/>
                    <a:pt x="154" y="60"/>
                  </a:cubicBezTo>
                  <a:cubicBezTo>
                    <a:pt x="157" y="60"/>
                    <a:pt x="160" y="57"/>
                    <a:pt x="160" y="54"/>
                  </a:cubicBezTo>
                  <a:cubicBezTo>
                    <a:pt x="160" y="51"/>
                    <a:pt x="157" y="48"/>
                    <a:pt x="154" y="4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10" name="iSļiďè">
            <a:extLst>
              <a:ext uri="{FF2B5EF4-FFF2-40B4-BE49-F238E27FC236}">
                <a16:creationId xmlns:a16="http://schemas.microsoft.com/office/drawing/2014/main" id="{B1BCB59A-89C2-4141-9717-987BEC3FCB26}"/>
              </a:ext>
            </a:extLst>
          </p:cNvPr>
          <p:cNvGrpSpPr/>
          <p:nvPr/>
        </p:nvGrpSpPr>
        <p:grpSpPr>
          <a:xfrm>
            <a:off x="7119196" y="3875813"/>
            <a:ext cx="690405" cy="690405"/>
            <a:chOff x="7158946" y="3875813"/>
            <a:chExt cx="721035" cy="721035"/>
          </a:xfrm>
        </p:grpSpPr>
        <p:sp>
          <p:nvSpPr>
            <p:cNvPr id="31" name="iŝḻïḑê">
              <a:extLst>
                <a:ext uri="{FF2B5EF4-FFF2-40B4-BE49-F238E27FC236}">
                  <a16:creationId xmlns:a16="http://schemas.microsoft.com/office/drawing/2014/main" id="{9C5E325A-BC21-4677-8297-01D773A93BC1}"/>
                </a:ext>
              </a:extLst>
            </p:cNvPr>
            <p:cNvSpPr/>
            <p:nvPr/>
          </p:nvSpPr>
          <p:spPr>
            <a:xfrm>
              <a:off x="7158946" y="3875813"/>
              <a:ext cx="721035" cy="721035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ṧḻïḑe">
              <a:extLst>
                <a:ext uri="{FF2B5EF4-FFF2-40B4-BE49-F238E27FC236}">
                  <a16:creationId xmlns:a16="http://schemas.microsoft.com/office/drawing/2014/main" id="{F010C2BE-2D6C-4E02-B788-A4B3A94EEDA5}"/>
                </a:ext>
              </a:extLst>
            </p:cNvPr>
            <p:cNvSpPr/>
            <p:nvPr/>
          </p:nvSpPr>
          <p:spPr bwMode="auto">
            <a:xfrm>
              <a:off x="7364333" y="4082953"/>
              <a:ext cx="310262" cy="306757"/>
            </a:xfrm>
            <a:custGeom>
              <a:avLst/>
              <a:gdLst>
                <a:gd name="T0" fmla="*/ 144 w 224"/>
                <a:gd name="T1" fmla="*/ 116 h 220"/>
                <a:gd name="T2" fmla="*/ 156 w 224"/>
                <a:gd name="T3" fmla="*/ 128 h 220"/>
                <a:gd name="T4" fmla="*/ 156 w 224"/>
                <a:gd name="T5" fmla="*/ 208 h 220"/>
                <a:gd name="T6" fmla="*/ 144 w 224"/>
                <a:gd name="T7" fmla="*/ 220 h 220"/>
                <a:gd name="T8" fmla="*/ 80 w 224"/>
                <a:gd name="T9" fmla="*/ 220 h 220"/>
                <a:gd name="T10" fmla="*/ 68 w 224"/>
                <a:gd name="T11" fmla="*/ 208 h 220"/>
                <a:gd name="T12" fmla="*/ 68 w 224"/>
                <a:gd name="T13" fmla="*/ 128 h 220"/>
                <a:gd name="T14" fmla="*/ 80 w 224"/>
                <a:gd name="T15" fmla="*/ 116 h 220"/>
                <a:gd name="T16" fmla="*/ 144 w 224"/>
                <a:gd name="T17" fmla="*/ 116 h 220"/>
                <a:gd name="T18" fmla="*/ 60 w 224"/>
                <a:gd name="T19" fmla="*/ 48 h 220"/>
                <a:gd name="T20" fmla="*/ 75 w 224"/>
                <a:gd name="T21" fmla="*/ 64 h 220"/>
                <a:gd name="T22" fmla="*/ 76 w 224"/>
                <a:gd name="T23" fmla="*/ 64 h 220"/>
                <a:gd name="T24" fmla="*/ 148 w 224"/>
                <a:gd name="T25" fmla="*/ 64 h 220"/>
                <a:gd name="T26" fmla="*/ 164 w 224"/>
                <a:gd name="T27" fmla="*/ 49 h 220"/>
                <a:gd name="T28" fmla="*/ 164 w 224"/>
                <a:gd name="T29" fmla="*/ 48 h 220"/>
                <a:gd name="T30" fmla="*/ 212 w 224"/>
                <a:gd name="T31" fmla="*/ 48 h 220"/>
                <a:gd name="T32" fmla="*/ 224 w 224"/>
                <a:gd name="T33" fmla="*/ 60 h 220"/>
                <a:gd name="T34" fmla="*/ 224 w 224"/>
                <a:gd name="T35" fmla="*/ 160 h 220"/>
                <a:gd name="T36" fmla="*/ 212 w 224"/>
                <a:gd name="T37" fmla="*/ 172 h 220"/>
                <a:gd name="T38" fmla="*/ 164 w 224"/>
                <a:gd name="T39" fmla="*/ 172 h 220"/>
                <a:gd name="T40" fmla="*/ 164 w 224"/>
                <a:gd name="T41" fmla="*/ 124 h 220"/>
                <a:gd name="T42" fmla="*/ 149 w 224"/>
                <a:gd name="T43" fmla="*/ 108 h 220"/>
                <a:gd name="T44" fmla="*/ 148 w 224"/>
                <a:gd name="T45" fmla="*/ 108 h 220"/>
                <a:gd name="T46" fmla="*/ 76 w 224"/>
                <a:gd name="T47" fmla="*/ 108 h 220"/>
                <a:gd name="T48" fmla="*/ 60 w 224"/>
                <a:gd name="T49" fmla="*/ 123 h 220"/>
                <a:gd name="T50" fmla="*/ 60 w 224"/>
                <a:gd name="T51" fmla="*/ 124 h 220"/>
                <a:gd name="T52" fmla="*/ 60 w 224"/>
                <a:gd name="T53" fmla="*/ 172 h 220"/>
                <a:gd name="T54" fmla="*/ 12 w 224"/>
                <a:gd name="T55" fmla="*/ 172 h 220"/>
                <a:gd name="T56" fmla="*/ 0 w 224"/>
                <a:gd name="T57" fmla="*/ 160 h 220"/>
                <a:gd name="T58" fmla="*/ 0 w 224"/>
                <a:gd name="T59" fmla="*/ 84 h 220"/>
                <a:gd name="T60" fmla="*/ 4 w 224"/>
                <a:gd name="T61" fmla="*/ 73 h 220"/>
                <a:gd name="T62" fmla="*/ 23 w 224"/>
                <a:gd name="T63" fmla="*/ 53 h 220"/>
                <a:gd name="T64" fmla="*/ 35 w 224"/>
                <a:gd name="T65" fmla="*/ 48 h 220"/>
                <a:gd name="T66" fmla="*/ 60 w 224"/>
                <a:gd name="T67" fmla="*/ 48 h 220"/>
                <a:gd name="T68" fmla="*/ 194 w 224"/>
                <a:gd name="T69" fmla="*/ 72 h 220"/>
                <a:gd name="T70" fmla="*/ 188 w 224"/>
                <a:gd name="T71" fmla="*/ 78 h 220"/>
                <a:gd name="T72" fmla="*/ 194 w 224"/>
                <a:gd name="T73" fmla="*/ 84 h 220"/>
                <a:gd name="T74" fmla="*/ 200 w 224"/>
                <a:gd name="T75" fmla="*/ 78 h 220"/>
                <a:gd name="T76" fmla="*/ 194 w 224"/>
                <a:gd name="T77" fmla="*/ 72 h 220"/>
                <a:gd name="T78" fmla="*/ 144 w 224"/>
                <a:gd name="T79" fmla="*/ 0 h 220"/>
                <a:gd name="T80" fmla="*/ 156 w 224"/>
                <a:gd name="T81" fmla="*/ 12 h 220"/>
                <a:gd name="T82" fmla="*/ 156 w 224"/>
                <a:gd name="T83" fmla="*/ 44 h 220"/>
                <a:gd name="T84" fmla="*/ 144 w 224"/>
                <a:gd name="T85" fmla="*/ 56 h 220"/>
                <a:gd name="T86" fmla="*/ 80 w 224"/>
                <a:gd name="T87" fmla="*/ 56 h 220"/>
                <a:gd name="T88" fmla="*/ 68 w 224"/>
                <a:gd name="T89" fmla="*/ 44 h 220"/>
                <a:gd name="T90" fmla="*/ 68 w 224"/>
                <a:gd name="T91" fmla="*/ 12 h 220"/>
                <a:gd name="T92" fmla="*/ 80 w 224"/>
                <a:gd name="T93" fmla="*/ 0 h 220"/>
                <a:gd name="T94" fmla="*/ 144 w 224"/>
                <a:gd name="T9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4" h="220">
                  <a:moveTo>
                    <a:pt x="144" y="116"/>
                  </a:moveTo>
                  <a:cubicBezTo>
                    <a:pt x="151" y="116"/>
                    <a:pt x="156" y="121"/>
                    <a:pt x="156" y="128"/>
                  </a:cubicBezTo>
                  <a:cubicBezTo>
                    <a:pt x="156" y="208"/>
                    <a:pt x="156" y="208"/>
                    <a:pt x="156" y="208"/>
                  </a:cubicBezTo>
                  <a:cubicBezTo>
                    <a:pt x="156" y="215"/>
                    <a:pt x="151" y="220"/>
                    <a:pt x="144" y="220"/>
                  </a:cubicBezTo>
                  <a:cubicBezTo>
                    <a:pt x="80" y="220"/>
                    <a:pt x="80" y="220"/>
                    <a:pt x="80" y="220"/>
                  </a:cubicBezTo>
                  <a:cubicBezTo>
                    <a:pt x="73" y="220"/>
                    <a:pt x="68" y="215"/>
                    <a:pt x="68" y="20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1"/>
                    <a:pt x="73" y="116"/>
                    <a:pt x="80" y="116"/>
                  </a:cubicBezTo>
                  <a:lnTo>
                    <a:pt x="144" y="116"/>
                  </a:lnTo>
                  <a:close/>
                  <a:moveTo>
                    <a:pt x="60" y="48"/>
                  </a:moveTo>
                  <a:cubicBezTo>
                    <a:pt x="60" y="57"/>
                    <a:pt x="67" y="64"/>
                    <a:pt x="75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148" y="64"/>
                    <a:pt x="148" y="64"/>
                    <a:pt x="148" y="64"/>
                  </a:cubicBezTo>
                  <a:cubicBezTo>
                    <a:pt x="157" y="64"/>
                    <a:pt x="164" y="57"/>
                    <a:pt x="164" y="49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212" y="48"/>
                    <a:pt x="212" y="48"/>
                    <a:pt x="212" y="48"/>
                  </a:cubicBezTo>
                  <a:cubicBezTo>
                    <a:pt x="219" y="48"/>
                    <a:pt x="224" y="53"/>
                    <a:pt x="224" y="60"/>
                  </a:cubicBezTo>
                  <a:cubicBezTo>
                    <a:pt x="224" y="160"/>
                    <a:pt x="224" y="160"/>
                    <a:pt x="224" y="160"/>
                  </a:cubicBezTo>
                  <a:cubicBezTo>
                    <a:pt x="224" y="167"/>
                    <a:pt x="219" y="172"/>
                    <a:pt x="212" y="172"/>
                  </a:cubicBezTo>
                  <a:cubicBezTo>
                    <a:pt x="164" y="172"/>
                    <a:pt x="164" y="172"/>
                    <a:pt x="164" y="172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64" y="115"/>
                    <a:pt x="157" y="108"/>
                    <a:pt x="149" y="108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67" y="108"/>
                    <a:pt x="60" y="115"/>
                    <a:pt x="60" y="123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12" y="172"/>
                    <a:pt x="12" y="172"/>
                    <a:pt x="12" y="172"/>
                  </a:cubicBezTo>
                  <a:cubicBezTo>
                    <a:pt x="5" y="172"/>
                    <a:pt x="0" y="167"/>
                    <a:pt x="0" y="16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0"/>
                    <a:pt x="2" y="76"/>
                    <a:pt x="4" y="7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6" y="50"/>
                    <a:pt x="31" y="48"/>
                    <a:pt x="35" y="48"/>
                  </a:cubicBezTo>
                  <a:lnTo>
                    <a:pt x="60" y="48"/>
                  </a:lnTo>
                  <a:close/>
                  <a:moveTo>
                    <a:pt x="194" y="72"/>
                  </a:moveTo>
                  <a:cubicBezTo>
                    <a:pt x="191" y="72"/>
                    <a:pt x="188" y="75"/>
                    <a:pt x="188" y="78"/>
                  </a:cubicBezTo>
                  <a:cubicBezTo>
                    <a:pt x="188" y="81"/>
                    <a:pt x="191" y="84"/>
                    <a:pt x="194" y="84"/>
                  </a:cubicBezTo>
                  <a:cubicBezTo>
                    <a:pt x="197" y="84"/>
                    <a:pt x="200" y="81"/>
                    <a:pt x="200" y="78"/>
                  </a:cubicBezTo>
                  <a:cubicBezTo>
                    <a:pt x="200" y="75"/>
                    <a:pt x="197" y="72"/>
                    <a:pt x="194" y="72"/>
                  </a:cubicBezTo>
                  <a:close/>
                  <a:moveTo>
                    <a:pt x="144" y="0"/>
                  </a:moveTo>
                  <a:cubicBezTo>
                    <a:pt x="151" y="0"/>
                    <a:pt x="156" y="5"/>
                    <a:pt x="156" y="12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56" y="51"/>
                    <a:pt x="151" y="56"/>
                    <a:pt x="14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3" y="56"/>
                    <a:pt x="68" y="51"/>
                    <a:pt x="68" y="44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5"/>
                    <a:pt x="73" y="0"/>
                    <a:pt x="80" y="0"/>
                  </a:cubicBezTo>
                  <a:lnTo>
                    <a:pt x="144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9" name="íṧ1ídé">
            <a:extLst>
              <a:ext uri="{FF2B5EF4-FFF2-40B4-BE49-F238E27FC236}">
                <a16:creationId xmlns:a16="http://schemas.microsoft.com/office/drawing/2014/main" id="{6D55E8A7-1C0C-4F4A-987F-043C1474CBB7}"/>
              </a:ext>
            </a:extLst>
          </p:cNvPr>
          <p:cNvGrpSpPr/>
          <p:nvPr/>
        </p:nvGrpSpPr>
        <p:grpSpPr>
          <a:xfrm>
            <a:off x="9890660" y="3875813"/>
            <a:ext cx="690405" cy="690405"/>
            <a:chOff x="8644906" y="3875813"/>
            <a:chExt cx="721035" cy="721035"/>
          </a:xfrm>
        </p:grpSpPr>
        <p:sp>
          <p:nvSpPr>
            <p:cNvPr id="29" name="îṧļiḍé">
              <a:extLst>
                <a:ext uri="{FF2B5EF4-FFF2-40B4-BE49-F238E27FC236}">
                  <a16:creationId xmlns:a16="http://schemas.microsoft.com/office/drawing/2014/main" id="{4FE83E3C-A71A-4BC2-8B80-82F9275567A5}"/>
                </a:ext>
              </a:extLst>
            </p:cNvPr>
            <p:cNvSpPr/>
            <p:nvPr/>
          </p:nvSpPr>
          <p:spPr>
            <a:xfrm>
              <a:off x="8644906" y="3875813"/>
              <a:ext cx="721035" cy="721035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ṩľîḍe">
              <a:extLst>
                <a:ext uri="{FF2B5EF4-FFF2-40B4-BE49-F238E27FC236}">
                  <a16:creationId xmlns:a16="http://schemas.microsoft.com/office/drawing/2014/main" id="{DD849E63-1881-4DEF-BC2F-7136A68A2D0F}"/>
                </a:ext>
              </a:extLst>
            </p:cNvPr>
            <p:cNvSpPr/>
            <p:nvPr/>
          </p:nvSpPr>
          <p:spPr bwMode="auto">
            <a:xfrm>
              <a:off x="8850293" y="4111313"/>
              <a:ext cx="310262" cy="250035"/>
            </a:xfrm>
            <a:custGeom>
              <a:avLst/>
              <a:gdLst>
                <a:gd name="T0" fmla="*/ 204 w 216"/>
                <a:gd name="T1" fmla="*/ 0 h 172"/>
                <a:gd name="T2" fmla="*/ 216 w 216"/>
                <a:gd name="T3" fmla="*/ 12 h 172"/>
                <a:gd name="T4" fmla="*/ 216 w 216"/>
                <a:gd name="T5" fmla="*/ 136 h 172"/>
                <a:gd name="T6" fmla="*/ 204 w 216"/>
                <a:gd name="T7" fmla="*/ 148 h 172"/>
                <a:gd name="T8" fmla="*/ 80 w 216"/>
                <a:gd name="T9" fmla="*/ 148 h 172"/>
                <a:gd name="T10" fmla="*/ 48 w 216"/>
                <a:gd name="T11" fmla="*/ 172 h 172"/>
                <a:gd name="T12" fmla="*/ 48 w 216"/>
                <a:gd name="T13" fmla="*/ 148 h 172"/>
                <a:gd name="T14" fmla="*/ 12 w 216"/>
                <a:gd name="T15" fmla="*/ 148 h 172"/>
                <a:gd name="T16" fmla="*/ 0 w 216"/>
                <a:gd name="T17" fmla="*/ 136 h 172"/>
                <a:gd name="T18" fmla="*/ 0 w 216"/>
                <a:gd name="T19" fmla="*/ 12 h 172"/>
                <a:gd name="T20" fmla="*/ 12 w 216"/>
                <a:gd name="T21" fmla="*/ 0 h 172"/>
                <a:gd name="T22" fmla="*/ 204 w 216"/>
                <a:gd name="T23" fmla="*/ 0 h 172"/>
                <a:gd name="T24" fmla="*/ 52 w 216"/>
                <a:gd name="T25" fmla="*/ 60 h 172"/>
                <a:gd name="T26" fmla="*/ 38 w 216"/>
                <a:gd name="T27" fmla="*/ 74 h 172"/>
                <a:gd name="T28" fmla="*/ 52 w 216"/>
                <a:gd name="T29" fmla="*/ 88 h 172"/>
                <a:gd name="T30" fmla="*/ 66 w 216"/>
                <a:gd name="T31" fmla="*/ 74 h 172"/>
                <a:gd name="T32" fmla="*/ 52 w 216"/>
                <a:gd name="T33" fmla="*/ 60 h 172"/>
                <a:gd name="T34" fmla="*/ 108 w 216"/>
                <a:gd name="T35" fmla="*/ 60 h 172"/>
                <a:gd name="T36" fmla="*/ 94 w 216"/>
                <a:gd name="T37" fmla="*/ 74 h 172"/>
                <a:gd name="T38" fmla="*/ 108 w 216"/>
                <a:gd name="T39" fmla="*/ 88 h 172"/>
                <a:gd name="T40" fmla="*/ 122 w 216"/>
                <a:gd name="T41" fmla="*/ 74 h 172"/>
                <a:gd name="T42" fmla="*/ 108 w 216"/>
                <a:gd name="T43" fmla="*/ 60 h 172"/>
                <a:gd name="T44" fmla="*/ 164 w 216"/>
                <a:gd name="T45" fmla="*/ 60 h 172"/>
                <a:gd name="T46" fmla="*/ 150 w 216"/>
                <a:gd name="T47" fmla="*/ 74 h 172"/>
                <a:gd name="T48" fmla="*/ 164 w 216"/>
                <a:gd name="T49" fmla="*/ 88 h 172"/>
                <a:gd name="T50" fmla="*/ 178 w 216"/>
                <a:gd name="T51" fmla="*/ 74 h 172"/>
                <a:gd name="T52" fmla="*/ 164 w 216"/>
                <a:gd name="T53" fmla="*/ 6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" h="172">
                  <a:moveTo>
                    <a:pt x="204" y="0"/>
                  </a:moveTo>
                  <a:cubicBezTo>
                    <a:pt x="211" y="0"/>
                    <a:pt x="216" y="5"/>
                    <a:pt x="216" y="12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6" y="143"/>
                    <a:pt x="211" y="148"/>
                    <a:pt x="204" y="148"/>
                  </a:cubicBezTo>
                  <a:cubicBezTo>
                    <a:pt x="80" y="148"/>
                    <a:pt x="80" y="148"/>
                    <a:pt x="80" y="148"/>
                  </a:cubicBezTo>
                  <a:cubicBezTo>
                    <a:pt x="48" y="172"/>
                    <a:pt x="48" y="172"/>
                    <a:pt x="48" y="172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12" y="148"/>
                    <a:pt x="12" y="148"/>
                    <a:pt x="12" y="148"/>
                  </a:cubicBezTo>
                  <a:cubicBezTo>
                    <a:pt x="5" y="148"/>
                    <a:pt x="0" y="143"/>
                    <a:pt x="0" y="13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lnTo>
                    <a:pt x="204" y="0"/>
                  </a:lnTo>
                  <a:close/>
                  <a:moveTo>
                    <a:pt x="52" y="60"/>
                  </a:moveTo>
                  <a:cubicBezTo>
                    <a:pt x="44" y="60"/>
                    <a:pt x="38" y="66"/>
                    <a:pt x="38" y="74"/>
                  </a:cubicBezTo>
                  <a:cubicBezTo>
                    <a:pt x="38" y="82"/>
                    <a:pt x="44" y="88"/>
                    <a:pt x="52" y="88"/>
                  </a:cubicBezTo>
                  <a:cubicBezTo>
                    <a:pt x="60" y="88"/>
                    <a:pt x="66" y="82"/>
                    <a:pt x="66" y="74"/>
                  </a:cubicBezTo>
                  <a:cubicBezTo>
                    <a:pt x="66" y="66"/>
                    <a:pt x="60" y="60"/>
                    <a:pt x="52" y="60"/>
                  </a:cubicBezTo>
                  <a:close/>
                  <a:moveTo>
                    <a:pt x="108" y="60"/>
                  </a:moveTo>
                  <a:cubicBezTo>
                    <a:pt x="100" y="60"/>
                    <a:pt x="94" y="66"/>
                    <a:pt x="94" y="74"/>
                  </a:cubicBezTo>
                  <a:cubicBezTo>
                    <a:pt x="94" y="82"/>
                    <a:pt x="100" y="88"/>
                    <a:pt x="108" y="88"/>
                  </a:cubicBezTo>
                  <a:cubicBezTo>
                    <a:pt x="116" y="88"/>
                    <a:pt x="122" y="82"/>
                    <a:pt x="122" y="74"/>
                  </a:cubicBezTo>
                  <a:cubicBezTo>
                    <a:pt x="122" y="66"/>
                    <a:pt x="116" y="60"/>
                    <a:pt x="108" y="60"/>
                  </a:cubicBezTo>
                  <a:close/>
                  <a:moveTo>
                    <a:pt x="164" y="60"/>
                  </a:moveTo>
                  <a:cubicBezTo>
                    <a:pt x="156" y="60"/>
                    <a:pt x="150" y="66"/>
                    <a:pt x="150" y="74"/>
                  </a:cubicBezTo>
                  <a:cubicBezTo>
                    <a:pt x="150" y="82"/>
                    <a:pt x="156" y="88"/>
                    <a:pt x="164" y="88"/>
                  </a:cubicBezTo>
                  <a:cubicBezTo>
                    <a:pt x="172" y="88"/>
                    <a:pt x="178" y="82"/>
                    <a:pt x="178" y="74"/>
                  </a:cubicBezTo>
                  <a:cubicBezTo>
                    <a:pt x="178" y="66"/>
                    <a:pt x="172" y="60"/>
                    <a:pt x="164" y="6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sp>
        <p:nvSpPr>
          <p:cNvPr id="16" name="ïşlîḑè">
            <a:extLst>
              <a:ext uri="{FF2B5EF4-FFF2-40B4-BE49-F238E27FC236}">
                <a16:creationId xmlns:a16="http://schemas.microsoft.com/office/drawing/2014/main" id="{C2183A1A-7296-4B0A-80D5-3053516471AB}"/>
              </a:ext>
            </a:extLst>
          </p:cNvPr>
          <p:cNvSpPr txBox="1"/>
          <p:nvPr/>
        </p:nvSpPr>
        <p:spPr bwMode="auto">
          <a:xfrm>
            <a:off x="882953" y="3204922"/>
            <a:ext cx="2059520" cy="744912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dirty="0"/>
              <a:t>Text here</a:t>
            </a:r>
          </a:p>
        </p:txBody>
      </p:sp>
      <p:sp>
        <p:nvSpPr>
          <p:cNvPr id="18" name="íṩlïḋê">
            <a:extLst>
              <a:ext uri="{FF2B5EF4-FFF2-40B4-BE49-F238E27FC236}">
                <a16:creationId xmlns:a16="http://schemas.microsoft.com/office/drawing/2014/main" id="{62FBF3B9-6651-4D8C-9A40-04BD4CEA4A3B}"/>
              </a:ext>
            </a:extLst>
          </p:cNvPr>
          <p:cNvSpPr txBox="1"/>
          <p:nvPr/>
        </p:nvSpPr>
        <p:spPr bwMode="auto">
          <a:xfrm>
            <a:off x="3651931" y="3204922"/>
            <a:ext cx="2059520" cy="744912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dirty="0"/>
              <a:t>Text here</a:t>
            </a:r>
          </a:p>
        </p:txBody>
      </p:sp>
      <p:sp>
        <p:nvSpPr>
          <p:cNvPr id="20" name="ïsļiḍe">
            <a:extLst>
              <a:ext uri="{FF2B5EF4-FFF2-40B4-BE49-F238E27FC236}">
                <a16:creationId xmlns:a16="http://schemas.microsoft.com/office/drawing/2014/main" id="{EA5D6ACC-8EA3-47EF-A643-84DCAFC71188}"/>
              </a:ext>
            </a:extLst>
          </p:cNvPr>
          <p:cNvSpPr txBox="1"/>
          <p:nvPr/>
        </p:nvSpPr>
        <p:spPr bwMode="auto">
          <a:xfrm>
            <a:off x="6420908" y="3204922"/>
            <a:ext cx="2059520" cy="744912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dirty="0"/>
              <a:t>Text here</a:t>
            </a:r>
          </a:p>
        </p:txBody>
      </p:sp>
      <p:sp>
        <p:nvSpPr>
          <p:cNvPr id="22" name="iŝḻïḍe">
            <a:extLst>
              <a:ext uri="{FF2B5EF4-FFF2-40B4-BE49-F238E27FC236}">
                <a16:creationId xmlns:a16="http://schemas.microsoft.com/office/drawing/2014/main" id="{30678096-AD55-4D8D-9F84-015FFE4ED9D2}"/>
              </a:ext>
            </a:extLst>
          </p:cNvPr>
          <p:cNvSpPr txBox="1"/>
          <p:nvPr/>
        </p:nvSpPr>
        <p:spPr bwMode="auto">
          <a:xfrm>
            <a:off x="9189886" y="3204922"/>
            <a:ext cx="2059520" cy="744912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dirty="0"/>
              <a:t>Text here</a:t>
            </a:r>
          </a:p>
        </p:txBody>
      </p:sp>
      <p:sp>
        <p:nvSpPr>
          <p:cNvPr id="23" name="ïşliḋe">
            <a:extLst>
              <a:ext uri="{FF2B5EF4-FFF2-40B4-BE49-F238E27FC236}">
                <a16:creationId xmlns:a16="http://schemas.microsoft.com/office/drawing/2014/main" id="{5A81F028-7753-49E5-9751-74291733F335}"/>
              </a:ext>
            </a:extLst>
          </p:cNvPr>
          <p:cNvSpPr/>
          <p:nvPr/>
        </p:nvSpPr>
        <p:spPr bwMode="auto">
          <a:xfrm>
            <a:off x="8961666" y="4758327"/>
            <a:ext cx="2515960" cy="90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 …</a:t>
            </a:r>
          </a:p>
        </p:txBody>
      </p:sp>
      <p:sp>
        <p:nvSpPr>
          <p:cNvPr id="24" name="í$lîḓé">
            <a:extLst>
              <a:ext uri="{FF2B5EF4-FFF2-40B4-BE49-F238E27FC236}">
                <a16:creationId xmlns:a16="http://schemas.microsoft.com/office/drawing/2014/main" id="{6BC41C2C-D440-440F-8FF1-5CE66385F013}"/>
              </a:ext>
            </a:extLst>
          </p:cNvPr>
          <p:cNvSpPr/>
          <p:nvPr/>
        </p:nvSpPr>
        <p:spPr bwMode="auto">
          <a:xfrm>
            <a:off x="6181878" y="4758327"/>
            <a:ext cx="2515960" cy="90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/>
              <a:t>… …</a:t>
            </a:r>
            <a:endParaRPr lang="en-US" altLang="zh-CN" sz="1100" dirty="0"/>
          </a:p>
        </p:txBody>
      </p:sp>
      <p:sp>
        <p:nvSpPr>
          <p:cNvPr id="25" name="ïṧ1îďé">
            <a:extLst>
              <a:ext uri="{FF2B5EF4-FFF2-40B4-BE49-F238E27FC236}">
                <a16:creationId xmlns:a16="http://schemas.microsoft.com/office/drawing/2014/main" id="{61FE4C95-A4C1-46E7-B088-535EB85C9FAF}"/>
              </a:ext>
            </a:extLst>
          </p:cNvPr>
          <p:cNvSpPr/>
          <p:nvPr/>
        </p:nvSpPr>
        <p:spPr bwMode="auto">
          <a:xfrm>
            <a:off x="3402089" y="4758327"/>
            <a:ext cx="2515960" cy="90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 …</a:t>
            </a:r>
          </a:p>
        </p:txBody>
      </p:sp>
      <p:sp>
        <p:nvSpPr>
          <p:cNvPr id="26" name="íṧļîḋè">
            <a:extLst>
              <a:ext uri="{FF2B5EF4-FFF2-40B4-BE49-F238E27FC236}">
                <a16:creationId xmlns:a16="http://schemas.microsoft.com/office/drawing/2014/main" id="{D357FB25-7FB6-4A9A-AD5B-F119AE530A17}"/>
              </a:ext>
            </a:extLst>
          </p:cNvPr>
          <p:cNvSpPr/>
          <p:nvPr/>
        </p:nvSpPr>
        <p:spPr bwMode="auto">
          <a:xfrm>
            <a:off x="622300" y="4758327"/>
            <a:ext cx="2515960" cy="90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/>
              <a:t>… …</a:t>
            </a:r>
            <a:endParaRPr lang="en-US" altLang="zh-CN" sz="11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212827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ṩ1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ļiďé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sliḑê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sľïḍé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iṡḷíḑ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8E2379D-9436-4275-9F90-108CBEE2265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73100" y="1392521"/>
            <a:ext cx="10845800" cy="4492058"/>
            <a:chOff x="673100" y="1392521"/>
            <a:chExt cx="10845800" cy="4492058"/>
          </a:xfrm>
        </p:grpSpPr>
        <p:cxnSp>
          <p:nvCxnSpPr>
            <p:cNvPr id="6" name="îsļïdê">
              <a:extLst>
                <a:ext uri="{FF2B5EF4-FFF2-40B4-BE49-F238E27FC236}">
                  <a16:creationId xmlns:a16="http://schemas.microsoft.com/office/drawing/2014/main" id="{8EAEC436-366D-491C-8ED6-0005A359343E}"/>
                </a:ext>
              </a:extLst>
            </p:cNvPr>
            <p:cNvCxnSpPr/>
            <p:nvPr/>
          </p:nvCxnSpPr>
          <p:spPr>
            <a:xfrm>
              <a:off x="673100" y="3638550"/>
              <a:ext cx="10845800" cy="0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ïSḷíḑé">
              <a:extLst>
                <a:ext uri="{FF2B5EF4-FFF2-40B4-BE49-F238E27FC236}">
                  <a16:creationId xmlns:a16="http://schemas.microsoft.com/office/drawing/2014/main" id="{A613A9BE-6ACC-4A1D-8BF2-216A5CFCEF76}"/>
                </a:ext>
              </a:extLst>
            </p:cNvPr>
            <p:cNvSpPr txBox="1"/>
            <p:nvPr/>
          </p:nvSpPr>
          <p:spPr bwMode="auto">
            <a:xfrm>
              <a:off x="1231154" y="3253830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accent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1"/>
                  </a:solidFill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</a:rPr>
                <a:t>1</a:t>
              </a:r>
            </a:p>
          </p:txBody>
        </p:sp>
        <p:grpSp>
          <p:nvGrpSpPr>
            <p:cNvPr id="8" name="iṣḻíḑê">
              <a:extLst>
                <a:ext uri="{FF2B5EF4-FFF2-40B4-BE49-F238E27FC236}">
                  <a16:creationId xmlns:a16="http://schemas.microsoft.com/office/drawing/2014/main" id="{A83BFD1D-2E12-4548-A638-E2406976F284}"/>
                </a:ext>
              </a:extLst>
            </p:cNvPr>
            <p:cNvGrpSpPr/>
            <p:nvPr/>
          </p:nvGrpSpPr>
          <p:grpSpPr>
            <a:xfrm>
              <a:off x="1231153" y="4711019"/>
              <a:ext cx="2380817" cy="1173560"/>
              <a:chOff x="11962918" y="3966429"/>
              <a:chExt cx="2380817" cy="1173560"/>
            </a:xfrm>
          </p:grpSpPr>
          <p:sp>
            <p:nvSpPr>
              <p:cNvPr id="41" name="í$lîḋe">
                <a:extLst>
                  <a:ext uri="{FF2B5EF4-FFF2-40B4-BE49-F238E27FC236}">
                    <a16:creationId xmlns:a16="http://schemas.microsoft.com/office/drawing/2014/main" id="{1C5E956B-9C0F-43FA-92CF-7BE1FCC8E797}"/>
                  </a:ext>
                </a:extLst>
              </p:cNvPr>
              <p:cNvSpPr txBox="1"/>
              <p:nvPr/>
            </p:nvSpPr>
            <p:spPr bwMode="auto">
              <a:xfrm>
                <a:off x="11962918" y="3966429"/>
                <a:ext cx="238081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</a:t>
                </a:r>
                <a:r>
                  <a:rPr lang="en-US" altLang="zh-CN" sz="100" b="1" dirty="0"/>
                  <a:t> </a:t>
                </a:r>
                <a:r>
                  <a:rPr lang="en-US" altLang="zh-CN" b="1" dirty="0"/>
                  <a:t> here</a:t>
                </a:r>
              </a:p>
            </p:txBody>
          </p:sp>
          <p:sp>
            <p:nvSpPr>
              <p:cNvPr id="42" name="ï$1îḋe">
                <a:extLst>
                  <a:ext uri="{FF2B5EF4-FFF2-40B4-BE49-F238E27FC236}">
                    <a16:creationId xmlns:a16="http://schemas.microsoft.com/office/drawing/2014/main" id="{2D2BB8E1-16F2-48F2-9EA7-C922BB0C0E48}"/>
                  </a:ext>
                </a:extLst>
              </p:cNvPr>
              <p:cNvSpPr/>
              <p:nvPr/>
            </p:nvSpPr>
            <p:spPr bwMode="auto">
              <a:xfrm>
                <a:off x="11962918" y="4472645"/>
                <a:ext cx="2380817" cy="6673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4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e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</p:grpSp>
        <p:cxnSp>
          <p:nvCxnSpPr>
            <p:cNvPr id="10" name="išļïḑê">
              <a:extLst>
                <a:ext uri="{FF2B5EF4-FFF2-40B4-BE49-F238E27FC236}">
                  <a16:creationId xmlns:a16="http://schemas.microsoft.com/office/drawing/2014/main" id="{E91464CF-F4BC-46E7-B569-8B244476413F}"/>
                </a:ext>
              </a:extLst>
            </p:cNvPr>
            <p:cNvCxnSpPr>
              <a:stCxn id="7" idx="2"/>
            </p:cNvCxnSpPr>
            <p:nvPr/>
          </p:nvCxnSpPr>
          <p:spPr>
            <a:xfrm>
              <a:off x="1637676" y="4023271"/>
              <a:ext cx="0" cy="62415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is1ídè">
              <a:extLst>
                <a:ext uri="{FF2B5EF4-FFF2-40B4-BE49-F238E27FC236}">
                  <a16:creationId xmlns:a16="http://schemas.microsoft.com/office/drawing/2014/main" id="{A0F3130F-A746-4364-8748-17DA4FB8361C}"/>
                </a:ext>
              </a:extLst>
            </p:cNvPr>
            <p:cNvCxnSpPr>
              <a:stCxn id="12" idx="0"/>
            </p:cNvCxnSpPr>
            <p:nvPr/>
          </p:nvCxnSpPr>
          <p:spPr>
            <a:xfrm flipV="1">
              <a:off x="3614408" y="2629673"/>
              <a:ext cx="0" cy="62415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iSļîďê">
              <a:extLst>
                <a:ext uri="{FF2B5EF4-FFF2-40B4-BE49-F238E27FC236}">
                  <a16:creationId xmlns:a16="http://schemas.microsoft.com/office/drawing/2014/main" id="{371BBDBD-0B14-4673-9802-FC2A4E90BA5A}"/>
                </a:ext>
              </a:extLst>
            </p:cNvPr>
            <p:cNvSpPr txBox="1"/>
            <p:nvPr/>
          </p:nvSpPr>
          <p:spPr bwMode="auto">
            <a:xfrm>
              <a:off x="3207886" y="3253829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accent2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2"/>
                  </a:solidFill>
                </a:rPr>
                <a:t> </a:t>
              </a:r>
              <a:r>
                <a:rPr lang="en-US" altLang="zh-CN" sz="4400" b="1" dirty="0">
                  <a:solidFill>
                    <a:schemeClr val="accent2"/>
                  </a:solidFill>
                </a:rPr>
                <a:t>2</a:t>
              </a:r>
            </a:p>
          </p:txBody>
        </p:sp>
        <p:grpSp>
          <p:nvGrpSpPr>
            <p:cNvPr id="13" name="îṣḷïďè">
              <a:extLst>
                <a:ext uri="{FF2B5EF4-FFF2-40B4-BE49-F238E27FC236}">
                  <a16:creationId xmlns:a16="http://schemas.microsoft.com/office/drawing/2014/main" id="{FCE2BC80-0906-4BFC-AC30-3B2CE57BF9EB}"/>
                </a:ext>
              </a:extLst>
            </p:cNvPr>
            <p:cNvGrpSpPr/>
            <p:nvPr/>
          </p:nvGrpSpPr>
          <p:grpSpPr>
            <a:xfrm>
              <a:off x="3207886" y="1392521"/>
              <a:ext cx="2380817" cy="1173560"/>
              <a:chOff x="11962919" y="3966429"/>
              <a:chExt cx="2380817" cy="1173560"/>
            </a:xfrm>
          </p:grpSpPr>
          <p:sp>
            <p:nvSpPr>
              <p:cNvPr id="37" name="íšḻíďê">
                <a:extLst>
                  <a:ext uri="{FF2B5EF4-FFF2-40B4-BE49-F238E27FC236}">
                    <a16:creationId xmlns:a16="http://schemas.microsoft.com/office/drawing/2014/main" id="{65808A61-CCED-46BD-80C2-29A6DC950FB7}"/>
                  </a:ext>
                </a:extLst>
              </p:cNvPr>
              <p:cNvSpPr txBox="1"/>
              <p:nvPr/>
            </p:nvSpPr>
            <p:spPr bwMode="auto">
              <a:xfrm>
                <a:off x="11962919" y="3966429"/>
                <a:ext cx="238081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xt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 </a:t>
                </a:r>
                <a:r>
                  <a:rPr lang="en-US" altLang="zh-CN" b="1" dirty="0"/>
                  <a:t>here</a:t>
                </a:r>
              </a:p>
            </p:txBody>
          </p:sp>
          <p:sp>
            <p:nvSpPr>
              <p:cNvPr id="38" name="ïṩḷîḍé">
                <a:extLst>
                  <a:ext uri="{FF2B5EF4-FFF2-40B4-BE49-F238E27FC236}">
                    <a16:creationId xmlns:a16="http://schemas.microsoft.com/office/drawing/2014/main" id="{74B390F1-4BE3-45C6-AD6A-C54262A6BB6C}"/>
                  </a:ext>
                </a:extLst>
              </p:cNvPr>
              <p:cNvSpPr/>
              <p:nvPr/>
            </p:nvSpPr>
            <p:spPr bwMode="auto">
              <a:xfrm>
                <a:off x="11962919" y="4472645"/>
                <a:ext cx="2380817" cy="6673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4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e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he only option to retain text……</a:t>
                </a:r>
              </a:p>
            </p:txBody>
          </p:sp>
        </p:grpSp>
        <p:sp>
          <p:nvSpPr>
            <p:cNvPr id="16" name="i$1iḋè">
              <a:extLst>
                <a:ext uri="{FF2B5EF4-FFF2-40B4-BE49-F238E27FC236}">
                  <a16:creationId xmlns:a16="http://schemas.microsoft.com/office/drawing/2014/main" id="{2EF89D0F-7D67-4FD9-8080-2F275261EEC9}"/>
                </a:ext>
              </a:extLst>
            </p:cNvPr>
            <p:cNvSpPr txBox="1"/>
            <p:nvPr/>
          </p:nvSpPr>
          <p:spPr bwMode="auto">
            <a:xfrm>
              <a:off x="5184618" y="3253830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accent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1"/>
                  </a:solidFill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</a:rPr>
                <a:t>3</a:t>
              </a:r>
            </a:p>
          </p:txBody>
        </p:sp>
        <p:grpSp>
          <p:nvGrpSpPr>
            <p:cNvPr id="17" name="ïS1ïḑe">
              <a:extLst>
                <a:ext uri="{FF2B5EF4-FFF2-40B4-BE49-F238E27FC236}">
                  <a16:creationId xmlns:a16="http://schemas.microsoft.com/office/drawing/2014/main" id="{7726C9B1-F212-4C15-8100-6A4C316EC25B}"/>
                </a:ext>
              </a:extLst>
            </p:cNvPr>
            <p:cNvGrpSpPr/>
            <p:nvPr/>
          </p:nvGrpSpPr>
          <p:grpSpPr>
            <a:xfrm>
              <a:off x="5184618" y="4711019"/>
              <a:ext cx="2380817" cy="1173560"/>
              <a:chOff x="11962919" y="3966429"/>
              <a:chExt cx="2380817" cy="1173560"/>
            </a:xfrm>
          </p:grpSpPr>
          <p:sp>
            <p:nvSpPr>
              <p:cNvPr id="35" name="îṡliḓé">
                <a:extLst>
                  <a:ext uri="{FF2B5EF4-FFF2-40B4-BE49-F238E27FC236}">
                    <a16:creationId xmlns:a16="http://schemas.microsoft.com/office/drawing/2014/main" id="{E3686949-57CC-4E29-9EB2-6FEEF9BBD961}"/>
                  </a:ext>
                </a:extLst>
              </p:cNvPr>
              <p:cNvSpPr txBox="1"/>
              <p:nvPr/>
            </p:nvSpPr>
            <p:spPr bwMode="auto">
              <a:xfrm>
                <a:off x="11962919" y="3966429"/>
                <a:ext cx="238081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xt </a:t>
                </a:r>
                <a:r>
                  <a:rPr lang="en-US" altLang="zh-CN" b="1" dirty="0"/>
                  <a:t>here</a:t>
                </a:r>
              </a:p>
            </p:txBody>
          </p:sp>
          <p:sp>
            <p:nvSpPr>
              <p:cNvPr id="36" name="íS1íḍé">
                <a:extLst>
                  <a:ext uri="{FF2B5EF4-FFF2-40B4-BE49-F238E27FC236}">
                    <a16:creationId xmlns:a16="http://schemas.microsoft.com/office/drawing/2014/main" id="{35520115-2D0A-431C-83C4-3ED3644471C5}"/>
                  </a:ext>
                </a:extLst>
              </p:cNvPr>
              <p:cNvSpPr/>
              <p:nvPr/>
            </p:nvSpPr>
            <p:spPr bwMode="auto">
              <a:xfrm>
                <a:off x="11962919" y="4472645"/>
                <a:ext cx="2380817" cy="6673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40000"/>
                  </a:lnSpc>
                </a:pPr>
                <a:r>
                  <a:rPr lang="en-US" altLang="zh-CN" sz="1100" dirty="0"/>
                  <a:t>Copy </a:t>
                </a:r>
                <a:r>
                  <a:rPr lang="en-US" altLang="zh-CN" sz="1100"/>
                  <a:t>paste fon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s</a:t>
                </a:r>
                <a:r>
                  <a:rPr lang="en-US" altLang="zh-CN" sz="1100" dirty="0"/>
                  <a:t>. Choose the only option to retain text……</a:t>
                </a:r>
              </a:p>
            </p:txBody>
          </p:sp>
        </p:grpSp>
        <p:cxnSp>
          <p:nvCxnSpPr>
            <p:cNvPr id="20" name="ïṣ1iḑé">
              <a:extLst>
                <a:ext uri="{FF2B5EF4-FFF2-40B4-BE49-F238E27FC236}">
                  <a16:creationId xmlns:a16="http://schemas.microsoft.com/office/drawing/2014/main" id="{5151E170-D3D0-49C9-BABB-43415F68190C}"/>
                </a:ext>
              </a:extLst>
            </p:cNvPr>
            <p:cNvCxnSpPr>
              <a:stCxn id="16" idx="2"/>
            </p:cNvCxnSpPr>
            <p:nvPr/>
          </p:nvCxnSpPr>
          <p:spPr>
            <a:xfrm>
              <a:off x="5591140" y="4023271"/>
              <a:ext cx="0" cy="62415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îṥļïḍé">
              <a:extLst>
                <a:ext uri="{FF2B5EF4-FFF2-40B4-BE49-F238E27FC236}">
                  <a16:creationId xmlns:a16="http://schemas.microsoft.com/office/drawing/2014/main" id="{4B3DBD15-A590-46A5-96F6-959A176A677A}"/>
                </a:ext>
              </a:extLst>
            </p:cNvPr>
            <p:cNvSpPr txBox="1"/>
            <p:nvPr/>
          </p:nvSpPr>
          <p:spPr bwMode="auto">
            <a:xfrm>
              <a:off x="7161350" y="3253829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accent2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2"/>
                  </a:solidFill>
                </a:rPr>
                <a:t> </a:t>
              </a:r>
              <a:r>
                <a:rPr lang="en-US" altLang="zh-CN" sz="4400" b="1" dirty="0">
                  <a:solidFill>
                    <a:schemeClr val="accent2"/>
                  </a:solidFill>
                </a:rPr>
                <a:t>4</a:t>
              </a:r>
            </a:p>
          </p:txBody>
        </p:sp>
        <p:grpSp>
          <p:nvGrpSpPr>
            <p:cNvPr id="22" name="îṣľíḋê">
              <a:extLst>
                <a:ext uri="{FF2B5EF4-FFF2-40B4-BE49-F238E27FC236}">
                  <a16:creationId xmlns:a16="http://schemas.microsoft.com/office/drawing/2014/main" id="{9136CE16-B54D-4A92-9AAE-189EDE200FB9}"/>
                </a:ext>
              </a:extLst>
            </p:cNvPr>
            <p:cNvGrpSpPr/>
            <p:nvPr/>
          </p:nvGrpSpPr>
          <p:grpSpPr>
            <a:xfrm>
              <a:off x="7161350" y="1392521"/>
              <a:ext cx="2380817" cy="1173560"/>
              <a:chOff x="11962919" y="3966429"/>
              <a:chExt cx="2380817" cy="1173560"/>
            </a:xfrm>
          </p:grpSpPr>
          <p:sp>
            <p:nvSpPr>
              <p:cNvPr id="33" name="iṣľïďé">
                <a:extLst>
                  <a:ext uri="{FF2B5EF4-FFF2-40B4-BE49-F238E27FC236}">
                    <a16:creationId xmlns:a16="http://schemas.microsoft.com/office/drawing/2014/main" id="{E9C94417-CE02-4D74-8EC7-5A8EF5D7022E}"/>
                  </a:ext>
                </a:extLst>
              </p:cNvPr>
              <p:cNvSpPr txBox="1"/>
              <p:nvPr/>
            </p:nvSpPr>
            <p:spPr bwMode="auto">
              <a:xfrm>
                <a:off x="11962919" y="3966429"/>
                <a:ext cx="238081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xt </a:t>
                </a:r>
                <a:r>
                  <a:rPr lang="en-US" altLang="zh-CN" b="1" dirty="0"/>
                  <a:t>here</a:t>
                </a:r>
              </a:p>
            </p:txBody>
          </p:sp>
          <p:sp>
            <p:nvSpPr>
              <p:cNvPr id="34" name="îṥļiḋè">
                <a:extLst>
                  <a:ext uri="{FF2B5EF4-FFF2-40B4-BE49-F238E27FC236}">
                    <a16:creationId xmlns:a16="http://schemas.microsoft.com/office/drawing/2014/main" id="{B3C3B9EE-2938-4B7F-8AFA-11A9AEF0A728}"/>
                  </a:ext>
                </a:extLst>
              </p:cNvPr>
              <p:cNvSpPr/>
              <p:nvPr/>
            </p:nvSpPr>
            <p:spPr bwMode="auto">
              <a:xfrm>
                <a:off x="11962919" y="4472645"/>
                <a:ext cx="2380817" cy="6673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40000"/>
                  </a:lnSpc>
                </a:pPr>
                <a:r>
                  <a:rPr lang="en-US" altLang="zh-CN" sz="1100" dirty="0"/>
                  <a:t>Copy </a:t>
                </a:r>
                <a:r>
                  <a:rPr lang="en-US" altLang="zh-CN" sz="1100"/>
                  <a:t>paste fon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s</a:t>
                </a:r>
                <a:r>
                  <a:rPr lang="en-US" altLang="zh-CN" sz="1100" dirty="0"/>
                  <a:t>. Choose the only option to retain text……</a:t>
                </a:r>
              </a:p>
            </p:txBody>
          </p:sp>
        </p:grpSp>
        <p:cxnSp>
          <p:nvCxnSpPr>
            <p:cNvPr id="25" name="îšḷídé">
              <a:extLst>
                <a:ext uri="{FF2B5EF4-FFF2-40B4-BE49-F238E27FC236}">
                  <a16:creationId xmlns:a16="http://schemas.microsoft.com/office/drawing/2014/main" id="{D22FCDE4-3F94-4305-A1AC-C2AA1BD8A91C}"/>
                </a:ext>
              </a:extLst>
            </p:cNvPr>
            <p:cNvCxnSpPr>
              <a:stCxn id="21" idx="0"/>
            </p:cNvCxnSpPr>
            <p:nvPr/>
          </p:nvCxnSpPr>
          <p:spPr>
            <a:xfrm flipV="1">
              <a:off x="7567872" y="2629673"/>
              <a:ext cx="0" cy="62415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iṧľídê">
              <a:extLst>
                <a:ext uri="{FF2B5EF4-FFF2-40B4-BE49-F238E27FC236}">
                  <a16:creationId xmlns:a16="http://schemas.microsoft.com/office/drawing/2014/main" id="{23700764-6105-4DC8-AA0B-DB357894EDE8}"/>
                </a:ext>
              </a:extLst>
            </p:cNvPr>
            <p:cNvSpPr txBox="1"/>
            <p:nvPr/>
          </p:nvSpPr>
          <p:spPr bwMode="auto">
            <a:xfrm>
              <a:off x="9138083" y="3253829"/>
              <a:ext cx="813043" cy="7694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4400" b="1" dirty="0">
                  <a:solidFill>
                    <a:schemeClr val="accent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1"/>
                  </a:solidFill>
                </a:rPr>
                <a:t> </a:t>
              </a:r>
              <a:r>
                <a:rPr lang="en-US" altLang="zh-CN" sz="4400" b="1" dirty="0">
                  <a:solidFill>
                    <a:schemeClr val="accent1"/>
                  </a:solidFill>
                </a:rPr>
                <a:t>5</a:t>
              </a:r>
            </a:p>
          </p:txBody>
        </p:sp>
        <p:grpSp>
          <p:nvGrpSpPr>
            <p:cNvPr id="27" name="îṣḻîḍe">
              <a:extLst>
                <a:ext uri="{FF2B5EF4-FFF2-40B4-BE49-F238E27FC236}">
                  <a16:creationId xmlns:a16="http://schemas.microsoft.com/office/drawing/2014/main" id="{DFCF1C79-5F9A-42CD-9344-3E1B944B8456}"/>
                </a:ext>
              </a:extLst>
            </p:cNvPr>
            <p:cNvGrpSpPr/>
            <p:nvPr/>
          </p:nvGrpSpPr>
          <p:grpSpPr>
            <a:xfrm>
              <a:off x="9138083" y="4711018"/>
              <a:ext cx="2380817" cy="1173560"/>
              <a:chOff x="11962919" y="3966429"/>
              <a:chExt cx="2380817" cy="1173560"/>
            </a:xfrm>
          </p:grpSpPr>
          <p:sp>
            <p:nvSpPr>
              <p:cNvPr id="31" name="išḻídê">
                <a:extLst>
                  <a:ext uri="{FF2B5EF4-FFF2-40B4-BE49-F238E27FC236}">
                    <a16:creationId xmlns:a16="http://schemas.microsoft.com/office/drawing/2014/main" id="{19E5E7E4-8344-4902-9884-2FC53BB21420}"/>
                  </a:ext>
                </a:extLst>
              </p:cNvPr>
              <p:cNvSpPr txBox="1"/>
              <p:nvPr/>
            </p:nvSpPr>
            <p:spPr bwMode="auto">
              <a:xfrm>
                <a:off x="11962919" y="3966429"/>
                <a:ext cx="238081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  <p:sp>
            <p:nvSpPr>
              <p:cNvPr id="32" name="ísḷîḍe">
                <a:extLst>
                  <a:ext uri="{FF2B5EF4-FFF2-40B4-BE49-F238E27FC236}">
                    <a16:creationId xmlns:a16="http://schemas.microsoft.com/office/drawing/2014/main" id="{5AFEC915-437C-4EC9-BBC8-2C5212B79B13}"/>
                  </a:ext>
                </a:extLst>
              </p:cNvPr>
              <p:cNvSpPr/>
              <p:nvPr/>
            </p:nvSpPr>
            <p:spPr bwMode="auto">
              <a:xfrm>
                <a:off x="11962919" y="4472645"/>
                <a:ext cx="2380817" cy="6673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4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ption </a:t>
                </a:r>
                <a:r>
                  <a:rPr lang="en-US" altLang="zh-CN" sz="1100" dirty="0"/>
                  <a:t>to retain text……</a:t>
                </a:r>
              </a:p>
            </p:txBody>
          </p:sp>
        </p:grpSp>
        <p:cxnSp>
          <p:nvCxnSpPr>
            <p:cNvPr id="30" name="iṡliḋé">
              <a:extLst>
                <a:ext uri="{FF2B5EF4-FFF2-40B4-BE49-F238E27FC236}">
                  <a16:creationId xmlns:a16="http://schemas.microsoft.com/office/drawing/2014/main" id="{C47758DE-D85F-44FC-AB56-B5F968EB8FC9}"/>
                </a:ext>
              </a:extLst>
            </p:cNvPr>
            <p:cNvCxnSpPr>
              <a:stCxn id="26" idx="2"/>
            </p:cNvCxnSpPr>
            <p:nvPr/>
          </p:nvCxnSpPr>
          <p:spPr>
            <a:xfrm>
              <a:off x="9544605" y="4023270"/>
              <a:ext cx="0" cy="62415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sysDash"/>
              <a:round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9959887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ṡľî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íṧľíḋè">
            <a:extLst>
              <a:ext uri="{FF2B5EF4-FFF2-40B4-BE49-F238E27FC236}">
                <a16:creationId xmlns:a16="http://schemas.microsoft.com/office/drawing/2014/main" id="{20DC1B2A-3A3A-482D-A88F-ABA40D01977A}"/>
              </a:ext>
            </a:extLst>
          </p:cNvPr>
          <p:cNvSpPr/>
          <p:nvPr/>
        </p:nvSpPr>
        <p:spPr>
          <a:xfrm>
            <a:off x="1543050" y="1571625"/>
            <a:ext cx="1962150" cy="1962150"/>
          </a:xfrm>
          <a:prstGeom prst="ellipse">
            <a:avLst/>
          </a:prstGeom>
          <a:blipFill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ïs1íďè">
            <a:extLst>
              <a:ext uri="{FF2B5EF4-FFF2-40B4-BE49-F238E27FC236}">
                <a16:creationId xmlns:a16="http://schemas.microsoft.com/office/drawing/2014/main" id="{B6BA50D8-D415-4F5D-8ACF-7E76A51B9610}"/>
              </a:ext>
            </a:extLst>
          </p:cNvPr>
          <p:cNvSpPr/>
          <p:nvPr/>
        </p:nvSpPr>
        <p:spPr>
          <a:xfrm>
            <a:off x="5114925" y="1571625"/>
            <a:ext cx="1962150" cy="1962150"/>
          </a:xfrm>
          <a:prstGeom prst="ellipse">
            <a:avLst/>
          </a:prstGeom>
          <a:blipFill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îṡḷïďe">
            <a:extLst>
              <a:ext uri="{FF2B5EF4-FFF2-40B4-BE49-F238E27FC236}">
                <a16:creationId xmlns:a16="http://schemas.microsoft.com/office/drawing/2014/main" id="{C222D5D6-5784-4C78-93D7-EA7AFBAC9B5C}"/>
              </a:ext>
            </a:extLst>
          </p:cNvPr>
          <p:cNvSpPr/>
          <p:nvPr/>
        </p:nvSpPr>
        <p:spPr>
          <a:xfrm>
            <a:off x="8686800" y="1571625"/>
            <a:ext cx="1962150" cy="1962150"/>
          </a:xfrm>
          <a:prstGeom prst="ellipse">
            <a:avLst/>
          </a:prstGeom>
          <a:blipFill>
            <a:blip r:embed="rId6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iŝľíḍé">
            <a:extLst>
              <a:ext uri="{FF2B5EF4-FFF2-40B4-BE49-F238E27FC236}">
                <a16:creationId xmlns:a16="http://schemas.microsoft.com/office/drawing/2014/main" id="{E7344DC4-A0CE-42C8-A793-D300A12D6EC3}"/>
              </a:ext>
            </a:extLst>
          </p:cNvPr>
          <p:cNvSpPr txBox="1"/>
          <p:nvPr/>
        </p:nvSpPr>
        <p:spPr>
          <a:xfrm>
            <a:off x="1193312" y="3754043"/>
            <a:ext cx="2551375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24" name="ïṩľiḑe">
            <a:extLst>
              <a:ext uri="{FF2B5EF4-FFF2-40B4-BE49-F238E27FC236}">
                <a16:creationId xmlns:a16="http://schemas.microsoft.com/office/drawing/2014/main" id="{56785658-580F-469E-9F47-D813D52587B4}"/>
              </a:ext>
            </a:extLst>
          </p:cNvPr>
          <p:cNvSpPr/>
          <p:nvPr/>
        </p:nvSpPr>
        <p:spPr bwMode="auto">
          <a:xfrm>
            <a:off x="1193312" y="4174571"/>
            <a:ext cx="2551375" cy="1702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25" name="îṣḷíďè">
            <a:extLst>
              <a:ext uri="{FF2B5EF4-FFF2-40B4-BE49-F238E27FC236}">
                <a16:creationId xmlns:a16="http://schemas.microsoft.com/office/drawing/2014/main" id="{56EF1615-F602-4ED2-87BC-0F2D4D9A986E}"/>
              </a:ext>
            </a:extLst>
          </p:cNvPr>
          <p:cNvSpPr txBox="1"/>
          <p:nvPr/>
        </p:nvSpPr>
        <p:spPr>
          <a:xfrm>
            <a:off x="4820312" y="3754043"/>
            <a:ext cx="2551375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30" name="íSḻíḓè">
            <a:extLst>
              <a:ext uri="{FF2B5EF4-FFF2-40B4-BE49-F238E27FC236}">
                <a16:creationId xmlns:a16="http://schemas.microsoft.com/office/drawing/2014/main" id="{6A655BE1-D3BF-4074-8A02-3C66B721FB05}"/>
              </a:ext>
            </a:extLst>
          </p:cNvPr>
          <p:cNvSpPr/>
          <p:nvPr/>
        </p:nvSpPr>
        <p:spPr bwMode="auto">
          <a:xfrm>
            <a:off x="4820312" y="4174571"/>
            <a:ext cx="2551375" cy="1702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31" name="ïṥľïḑê">
            <a:extLst>
              <a:ext uri="{FF2B5EF4-FFF2-40B4-BE49-F238E27FC236}">
                <a16:creationId xmlns:a16="http://schemas.microsoft.com/office/drawing/2014/main" id="{FB22822F-00BD-4583-B846-4D8A8F86AB74}"/>
              </a:ext>
            </a:extLst>
          </p:cNvPr>
          <p:cNvSpPr txBox="1"/>
          <p:nvPr/>
        </p:nvSpPr>
        <p:spPr>
          <a:xfrm>
            <a:off x="8447313" y="3754043"/>
            <a:ext cx="2551375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32" name="ï$ľíḑé">
            <a:extLst>
              <a:ext uri="{FF2B5EF4-FFF2-40B4-BE49-F238E27FC236}">
                <a16:creationId xmlns:a16="http://schemas.microsoft.com/office/drawing/2014/main" id="{5EC4FCC7-D1ED-406A-AA95-B31CD4537C0B}"/>
              </a:ext>
            </a:extLst>
          </p:cNvPr>
          <p:cNvSpPr/>
          <p:nvPr/>
        </p:nvSpPr>
        <p:spPr bwMode="auto">
          <a:xfrm>
            <a:off x="8447313" y="4174571"/>
            <a:ext cx="2551375" cy="1702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2" name="ïşľîḑê">
            <a:extLst>
              <a:ext uri="{FF2B5EF4-FFF2-40B4-BE49-F238E27FC236}">
                <a16:creationId xmlns:a16="http://schemas.microsoft.com/office/drawing/2014/main" id="{5264F60A-5B49-400E-9A5D-F2E5CE295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ṥļiḓè">
            <a:extLst>
              <a:ext uri="{FF2B5EF4-FFF2-40B4-BE49-F238E27FC236}">
                <a16:creationId xmlns:a16="http://schemas.microsoft.com/office/drawing/2014/main" id="{6AD75C20-AFD5-4262-BD1B-FC84744A34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sľíḍê">
            <a:extLst>
              <a:ext uri="{FF2B5EF4-FFF2-40B4-BE49-F238E27FC236}">
                <a16:creationId xmlns:a16="http://schemas.microsoft.com/office/drawing/2014/main" id="{C22DF768-EBB1-49AE-B975-5D872402B4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262820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ḻi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şḻíḍè">
            <a:extLst>
              <a:ext uri="{FF2B5EF4-FFF2-40B4-BE49-F238E27FC236}">
                <a16:creationId xmlns:a16="http://schemas.microsoft.com/office/drawing/2014/main" id="{A3BDD3E1-60EA-46DA-B22D-15A33FFFA51A}"/>
              </a:ext>
            </a:extLst>
          </p:cNvPr>
          <p:cNvSpPr/>
          <p:nvPr/>
        </p:nvSpPr>
        <p:spPr>
          <a:xfrm>
            <a:off x="660400" y="2601207"/>
            <a:ext cx="10850563" cy="3272692"/>
          </a:xfrm>
          <a:prstGeom prst="roundRect">
            <a:avLst>
              <a:gd name="adj" fmla="val 327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îś1iḍê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ŝľiḍe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šḻidè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7" name="íṩḻîḋê">
            <a:extLst>
              <a:ext uri="{FF2B5EF4-FFF2-40B4-BE49-F238E27FC236}">
                <a16:creationId xmlns:a16="http://schemas.microsoft.com/office/drawing/2014/main" id="{764B8A37-AD5D-42AD-8B6B-5713247ACD5A}"/>
              </a:ext>
            </a:extLst>
          </p:cNvPr>
          <p:cNvSpPr txBox="1"/>
          <p:nvPr/>
        </p:nvSpPr>
        <p:spPr>
          <a:xfrm>
            <a:off x="660400" y="1841674"/>
            <a:ext cx="5555762" cy="6372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buSzPct val="25000"/>
            </a:pPr>
            <a:r>
              <a:rPr lang="en-US" altLang="zh-CN" sz="11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buSzPct val="25000"/>
            </a:pPr>
            <a:r>
              <a:rPr lang="en-US" altLang="zh-CN" sz="11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9" name="îṧľîḍé">
            <a:extLst>
              <a:ext uri="{FF2B5EF4-FFF2-40B4-BE49-F238E27FC236}">
                <a16:creationId xmlns:a16="http://schemas.microsoft.com/office/drawing/2014/main" id="{6929E9A3-2963-433D-B9D4-6510C7F7D89D}"/>
              </a:ext>
            </a:extLst>
          </p:cNvPr>
          <p:cNvSpPr txBox="1"/>
          <p:nvPr/>
        </p:nvSpPr>
        <p:spPr>
          <a:xfrm>
            <a:off x="660400" y="1395264"/>
            <a:ext cx="5555762" cy="4320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en-US" sz="2000" b="1" dirty="0">
                <a:cs typeface="+mn-ea"/>
                <a:sym typeface="+mn-lt"/>
              </a:rPr>
              <a:t>Unified fonts make reading more fluent.</a:t>
            </a:r>
          </a:p>
        </p:txBody>
      </p:sp>
      <p:cxnSp>
        <p:nvCxnSpPr>
          <p:cNvPr id="13" name="ïṥliḍè">
            <a:extLst>
              <a:ext uri="{FF2B5EF4-FFF2-40B4-BE49-F238E27FC236}">
                <a16:creationId xmlns:a16="http://schemas.microsoft.com/office/drawing/2014/main" id="{BB2C7489-E6ED-4B02-894B-C0440BEA0117}"/>
              </a:ext>
            </a:extLst>
          </p:cNvPr>
          <p:cNvCxnSpPr>
            <a:cxnSpLocks/>
          </p:cNvCxnSpPr>
          <p:nvPr/>
        </p:nvCxnSpPr>
        <p:spPr>
          <a:xfrm>
            <a:off x="1212724" y="3286360"/>
            <a:ext cx="0" cy="2587539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íṩļîḍé">
            <a:extLst>
              <a:ext uri="{FF2B5EF4-FFF2-40B4-BE49-F238E27FC236}">
                <a16:creationId xmlns:a16="http://schemas.microsoft.com/office/drawing/2014/main" id="{418CA462-FE32-4DC7-A7DB-7EAA6E98A1F4}"/>
              </a:ext>
            </a:extLst>
          </p:cNvPr>
          <p:cNvSpPr/>
          <p:nvPr/>
        </p:nvSpPr>
        <p:spPr>
          <a:xfrm>
            <a:off x="1168668" y="3242304"/>
            <a:ext cx="88112" cy="88112"/>
          </a:xfrm>
          <a:prstGeom prst="ellipse">
            <a:avLst/>
          </a:prstGeom>
          <a:solidFill>
            <a:schemeClr val="accent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5" name="íS1ïḍé">
            <a:extLst>
              <a:ext uri="{FF2B5EF4-FFF2-40B4-BE49-F238E27FC236}">
                <a16:creationId xmlns:a16="http://schemas.microsoft.com/office/drawing/2014/main" id="{789C6B3D-BD5E-49F2-A41B-3ACB63091993}"/>
              </a:ext>
            </a:extLst>
          </p:cNvPr>
          <p:cNvSpPr/>
          <p:nvPr/>
        </p:nvSpPr>
        <p:spPr bwMode="auto">
          <a:xfrm>
            <a:off x="1416999" y="3210119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16" name="ïśḷíďê">
            <a:extLst>
              <a:ext uri="{FF2B5EF4-FFF2-40B4-BE49-F238E27FC236}">
                <a16:creationId xmlns:a16="http://schemas.microsoft.com/office/drawing/2014/main" id="{9A7978C4-37B5-47B8-8C21-3A04F354A416}"/>
              </a:ext>
            </a:extLst>
          </p:cNvPr>
          <p:cNvSpPr txBox="1"/>
          <p:nvPr/>
        </p:nvSpPr>
        <p:spPr bwMode="auto">
          <a:xfrm>
            <a:off x="1416999" y="2835546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  <p:sp>
        <p:nvSpPr>
          <p:cNvPr id="17" name="ísḻiḓé">
            <a:extLst>
              <a:ext uri="{FF2B5EF4-FFF2-40B4-BE49-F238E27FC236}">
                <a16:creationId xmlns:a16="http://schemas.microsoft.com/office/drawing/2014/main" id="{376C8BAF-7E31-46C6-A6A2-455DB1850FFD}"/>
              </a:ext>
            </a:extLst>
          </p:cNvPr>
          <p:cNvSpPr/>
          <p:nvPr/>
        </p:nvSpPr>
        <p:spPr>
          <a:xfrm>
            <a:off x="1168668" y="4310666"/>
            <a:ext cx="88112" cy="88112"/>
          </a:xfrm>
          <a:prstGeom prst="ellipse">
            <a:avLst/>
          </a:prstGeom>
          <a:solidFill>
            <a:schemeClr val="accent2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8" name="íṩlïdê">
            <a:extLst>
              <a:ext uri="{FF2B5EF4-FFF2-40B4-BE49-F238E27FC236}">
                <a16:creationId xmlns:a16="http://schemas.microsoft.com/office/drawing/2014/main" id="{FC3BED8A-30A3-4F69-82BA-A60DA399DF7E}"/>
              </a:ext>
            </a:extLst>
          </p:cNvPr>
          <p:cNvSpPr/>
          <p:nvPr/>
        </p:nvSpPr>
        <p:spPr bwMode="auto">
          <a:xfrm>
            <a:off x="1416999" y="4278481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19" name="ïṥļíḓé">
            <a:extLst>
              <a:ext uri="{FF2B5EF4-FFF2-40B4-BE49-F238E27FC236}">
                <a16:creationId xmlns:a16="http://schemas.microsoft.com/office/drawing/2014/main" id="{B32504AF-08A5-4585-B7F0-B0EDBEF6D5AF}"/>
              </a:ext>
            </a:extLst>
          </p:cNvPr>
          <p:cNvSpPr txBox="1"/>
          <p:nvPr/>
        </p:nvSpPr>
        <p:spPr bwMode="auto">
          <a:xfrm>
            <a:off x="1416999" y="3903908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  <p:sp>
        <p:nvSpPr>
          <p:cNvPr id="20" name="ïş1idè">
            <a:extLst>
              <a:ext uri="{FF2B5EF4-FFF2-40B4-BE49-F238E27FC236}">
                <a16:creationId xmlns:a16="http://schemas.microsoft.com/office/drawing/2014/main" id="{BFD0B6AB-7610-415A-AA3B-5EE59818D1C2}"/>
              </a:ext>
            </a:extLst>
          </p:cNvPr>
          <p:cNvSpPr/>
          <p:nvPr/>
        </p:nvSpPr>
        <p:spPr>
          <a:xfrm>
            <a:off x="1168668" y="5379028"/>
            <a:ext cx="88112" cy="88112"/>
          </a:xfrm>
          <a:prstGeom prst="ellipse">
            <a:avLst/>
          </a:prstGeom>
          <a:solidFill>
            <a:schemeClr val="accent3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1" name="ïŝľïḑe">
            <a:extLst>
              <a:ext uri="{FF2B5EF4-FFF2-40B4-BE49-F238E27FC236}">
                <a16:creationId xmlns:a16="http://schemas.microsoft.com/office/drawing/2014/main" id="{4497EA13-3867-42F4-BCB3-35B786DF11DB}"/>
              </a:ext>
            </a:extLst>
          </p:cNvPr>
          <p:cNvSpPr/>
          <p:nvPr/>
        </p:nvSpPr>
        <p:spPr bwMode="auto">
          <a:xfrm>
            <a:off x="1416999" y="5346843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22" name="ïṩļíḓè">
            <a:extLst>
              <a:ext uri="{FF2B5EF4-FFF2-40B4-BE49-F238E27FC236}">
                <a16:creationId xmlns:a16="http://schemas.microsoft.com/office/drawing/2014/main" id="{05AFF780-3D08-421F-B6BB-66655DC44C17}"/>
              </a:ext>
            </a:extLst>
          </p:cNvPr>
          <p:cNvSpPr txBox="1"/>
          <p:nvPr/>
        </p:nvSpPr>
        <p:spPr bwMode="auto">
          <a:xfrm>
            <a:off x="1416999" y="4972270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  <p:cxnSp>
        <p:nvCxnSpPr>
          <p:cNvPr id="23" name="íṡḷïdê">
            <a:extLst>
              <a:ext uri="{FF2B5EF4-FFF2-40B4-BE49-F238E27FC236}">
                <a16:creationId xmlns:a16="http://schemas.microsoft.com/office/drawing/2014/main" id="{51194DF2-12DF-4610-A468-74F4939F79B7}"/>
              </a:ext>
            </a:extLst>
          </p:cNvPr>
          <p:cNvCxnSpPr>
            <a:cxnSpLocks/>
          </p:cNvCxnSpPr>
          <p:nvPr/>
        </p:nvCxnSpPr>
        <p:spPr>
          <a:xfrm>
            <a:off x="5125395" y="3286360"/>
            <a:ext cx="0" cy="2587539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íŝḻiḓê">
            <a:extLst>
              <a:ext uri="{FF2B5EF4-FFF2-40B4-BE49-F238E27FC236}">
                <a16:creationId xmlns:a16="http://schemas.microsoft.com/office/drawing/2014/main" id="{C96F943B-F2A6-4D47-B27A-969D94E5FF77}"/>
              </a:ext>
            </a:extLst>
          </p:cNvPr>
          <p:cNvSpPr/>
          <p:nvPr/>
        </p:nvSpPr>
        <p:spPr>
          <a:xfrm>
            <a:off x="5081339" y="3242304"/>
            <a:ext cx="88112" cy="88112"/>
          </a:xfrm>
          <a:prstGeom prst="ellipse">
            <a:avLst/>
          </a:prstGeom>
          <a:solidFill>
            <a:schemeClr val="accent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5" name="iṥļiḓê">
            <a:extLst>
              <a:ext uri="{FF2B5EF4-FFF2-40B4-BE49-F238E27FC236}">
                <a16:creationId xmlns:a16="http://schemas.microsoft.com/office/drawing/2014/main" id="{083DD290-5A23-416F-B9C8-EBD6CE0D30F5}"/>
              </a:ext>
            </a:extLst>
          </p:cNvPr>
          <p:cNvSpPr/>
          <p:nvPr/>
        </p:nvSpPr>
        <p:spPr bwMode="auto">
          <a:xfrm>
            <a:off x="5329670" y="3210119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26" name="ï$1îḋê">
            <a:extLst>
              <a:ext uri="{FF2B5EF4-FFF2-40B4-BE49-F238E27FC236}">
                <a16:creationId xmlns:a16="http://schemas.microsoft.com/office/drawing/2014/main" id="{14055AAA-7CCE-42A4-A945-537064128AB8}"/>
              </a:ext>
            </a:extLst>
          </p:cNvPr>
          <p:cNvSpPr txBox="1"/>
          <p:nvPr/>
        </p:nvSpPr>
        <p:spPr bwMode="auto">
          <a:xfrm>
            <a:off x="5329670" y="2835546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  <p:sp>
        <p:nvSpPr>
          <p:cNvPr id="27" name="íṥḻiďé">
            <a:extLst>
              <a:ext uri="{FF2B5EF4-FFF2-40B4-BE49-F238E27FC236}">
                <a16:creationId xmlns:a16="http://schemas.microsoft.com/office/drawing/2014/main" id="{9E43A573-90C1-4E7E-84B8-DEEBC6332D49}"/>
              </a:ext>
            </a:extLst>
          </p:cNvPr>
          <p:cNvSpPr/>
          <p:nvPr/>
        </p:nvSpPr>
        <p:spPr>
          <a:xfrm>
            <a:off x="5081339" y="4310666"/>
            <a:ext cx="88112" cy="88112"/>
          </a:xfrm>
          <a:prstGeom prst="ellipse">
            <a:avLst/>
          </a:prstGeom>
          <a:solidFill>
            <a:schemeClr val="accent2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8" name="íŝḷíďè">
            <a:extLst>
              <a:ext uri="{FF2B5EF4-FFF2-40B4-BE49-F238E27FC236}">
                <a16:creationId xmlns:a16="http://schemas.microsoft.com/office/drawing/2014/main" id="{CC0D0D1E-E1E7-48D3-B056-76CFDCD679B5}"/>
              </a:ext>
            </a:extLst>
          </p:cNvPr>
          <p:cNvSpPr/>
          <p:nvPr/>
        </p:nvSpPr>
        <p:spPr bwMode="auto">
          <a:xfrm>
            <a:off x="5329670" y="4278481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29" name="ïṧḻiḓè">
            <a:extLst>
              <a:ext uri="{FF2B5EF4-FFF2-40B4-BE49-F238E27FC236}">
                <a16:creationId xmlns:a16="http://schemas.microsoft.com/office/drawing/2014/main" id="{7C52C286-F3AC-4B3A-8156-7AB90415B31C}"/>
              </a:ext>
            </a:extLst>
          </p:cNvPr>
          <p:cNvSpPr txBox="1"/>
          <p:nvPr/>
        </p:nvSpPr>
        <p:spPr bwMode="auto">
          <a:xfrm>
            <a:off x="5329670" y="3903908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  <p:sp>
        <p:nvSpPr>
          <p:cNvPr id="30" name="íṣḻíďe">
            <a:extLst>
              <a:ext uri="{FF2B5EF4-FFF2-40B4-BE49-F238E27FC236}">
                <a16:creationId xmlns:a16="http://schemas.microsoft.com/office/drawing/2014/main" id="{0C84D405-CABF-4DC7-8CAD-B3F6EA55D428}"/>
              </a:ext>
            </a:extLst>
          </p:cNvPr>
          <p:cNvSpPr/>
          <p:nvPr/>
        </p:nvSpPr>
        <p:spPr>
          <a:xfrm>
            <a:off x="5081339" y="5379028"/>
            <a:ext cx="88112" cy="88112"/>
          </a:xfrm>
          <a:prstGeom prst="ellipse">
            <a:avLst/>
          </a:prstGeom>
          <a:solidFill>
            <a:schemeClr val="accent3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1" name="îṧḷîḍé">
            <a:extLst>
              <a:ext uri="{FF2B5EF4-FFF2-40B4-BE49-F238E27FC236}">
                <a16:creationId xmlns:a16="http://schemas.microsoft.com/office/drawing/2014/main" id="{6506966C-F41B-481F-B0A0-65D0DA54DA43}"/>
              </a:ext>
            </a:extLst>
          </p:cNvPr>
          <p:cNvSpPr/>
          <p:nvPr/>
        </p:nvSpPr>
        <p:spPr bwMode="auto">
          <a:xfrm>
            <a:off x="5329670" y="5346843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32" name="iṧ1ïḓè">
            <a:extLst>
              <a:ext uri="{FF2B5EF4-FFF2-40B4-BE49-F238E27FC236}">
                <a16:creationId xmlns:a16="http://schemas.microsoft.com/office/drawing/2014/main" id="{B7F655D3-618D-476F-8BDF-56FE144D3480}"/>
              </a:ext>
            </a:extLst>
          </p:cNvPr>
          <p:cNvSpPr txBox="1"/>
          <p:nvPr/>
        </p:nvSpPr>
        <p:spPr bwMode="auto">
          <a:xfrm>
            <a:off x="5329670" y="4972270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  <p:cxnSp>
        <p:nvCxnSpPr>
          <p:cNvPr id="33" name="iśḻiďe">
            <a:extLst>
              <a:ext uri="{FF2B5EF4-FFF2-40B4-BE49-F238E27FC236}">
                <a16:creationId xmlns:a16="http://schemas.microsoft.com/office/drawing/2014/main" id="{45B9CAB0-06AA-4C91-AD2D-81B214CE5454}"/>
              </a:ext>
            </a:extLst>
          </p:cNvPr>
          <p:cNvCxnSpPr>
            <a:cxnSpLocks/>
          </p:cNvCxnSpPr>
          <p:nvPr/>
        </p:nvCxnSpPr>
        <p:spPr>
          <a:xfrm>
            <a:off x="9038067" y="3286360"/>
            <a:ext cx="0" cy="2587539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iṧļíḋê">
            <a:extLst>
              <a:ext uri="{FF2B5EF4-FFF2-40B4-BE49-F238E27FC236}">
                <a16:creationId xmlns:a16="http://schemas.microsoft.com/office/drawing/2014/main" id="{7353396F-A82A-4DCA-BF08-0CFE0D48A895}"/>
              </a:ext>
            </a:extLst>
          </p:cNvPr>
          <p:cNvSpPr/>
          <p:nvPr/>
        </p:nvSpPr>
        <p:spPr>
          <a:xfrm>
            <a:off x="8994011" y="3242304"/>
            <a:ext cx="88112" cy="88112"/>
          </a:xfrm>
          <a:prstGeom prst="ellipse">
            <a:avLst/>
          </a:prstGeom>
          <a:solidFill>
            <a:schemeClr val="accent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5" name="ïšľïḋé">
            <a:extLst>
              <a:ext uri="{FF2B5EF4-FFF2-40B4-BE49-F238E27FC236}">
                <a16:creationId xmlns:a16="http://schemas.microsoft.com/office/drawing/2014/main" id="{FA25334B-10EF-45CB-A609-77CA92B2EA12}"/>
              </a:ext>
            </a:extLst>
          </p:cNvPr>
          <p:cNvSpPr/>
          <p:nvPr/>
        </p:nvSpPr>
        <p:spPr bwMode="auto">
          <a:xfrm>
            <a:off x="9242342" y="3210119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36" name="iṧḷïḑe">
            <a:extLst>
              <a:ext uri="{FF2B5EF4-FFF2-40B4-BE49-F238E27FC236}">
                <a16:creationId xmlns:a16="http://schemas.microsoft.com/office/drawing/2014/main" id="{C8BEEA0A-9F87-4D15-9ECA-96877CC48EA6}"/>
              </a:ext>
            </a:extLst>
          </p:cNvPr>
          <p:cNvSpPr txBox="1"/>
          <p:nvPr/>
        </p:nvSpPr>
        <p:spPr bwMode="auto">
          <a:xfrm>
            <a:off x="9242342" y="2835546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  <p:sp>
        <p:nvSpPr>
          <p:cNvPr id="37" name="ïŝľide">
            <a:extLst>
              <a:ext uri="{FF2B5EF4-FFF2-40B4-BE49-F238E27FC236}">
                <a16:creationId xmlns:a16="http://schemas.microsoft.com/office/drawing/2014/main" id="{15EE96EF-C148-4F4E-BE1A-8991B6250DEA}"/>
              </a:ext>
            </a:extLst>
          </p:cNvPr>
          <p:cNvSpPr/>
          <p:nvPr/>
        </p:nvSpPr>
        <p:spPr>
          <a:xfrm>
            <a:off x="8994011" y="4310666"/>
            <a:ext cx="88112" cy="88112"/>
          </a:xfrm>
          <a:prstGeom prst="ellipse">
            <a:avLst/>
          </a:prstGeom>
          <a:solidFill>
            <a:schemeClr val="accent2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8" name="iS1îďè">
            <a:extLst>
              <a:ext uri="{FF2B5EF4-FFF2-40B4-BE49-F238E27FC236}">
                <a16:creationId xmlns:a16="http://schemas.microsoft.com/office/drawing/2014/main" id="{AC8A5554-8ACB-45EF-90C9-F20B787590BB}"/>
              </a:ext>
            </a:extLst>
          </p:cNvPr>
          <p:cNvSpPr/>
          <p:nvPr/>
        </p:nvSpPr>
        <p:spPr bwMode="auto">
          <a:xfrm>
            <a:off x="9242342" y="4278481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39" name="í$ḷïḍe">
            <a:extLst>
              <a:ext uri="{FF2B5EF4-FFF2-40B4-BE49-F238E27FC236}">
                <a16:creationId xmlns:a16="http://schemas.microsoft.com/office/drawing/2014/main" id="{E90C6DCA-B63C-41AD-8E3D-B2ACB6D0D023}"/>
              </a:ext>
            </a:extLst>
          </p:cNvPr>
          <p:cNvSpPr txBox="1"/>
          <p:nvPr/>
        </p:nvSpPr>
        <p:spPr bwMode="auto">
          <a:xfrm>
            <a:off x="9242342" y="3903908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  <p:sp>
        <p:nvSpPr>
          <p:cNvPr id="40" name="íśļïḓè">
            <a:extLst>
              <a:ext uri="{FF2B5EF4-FFF2-40B4-BE49-F238E27FC236}">
                <a16:creationId xmlns:a16="http://schemas.microsoft.com/office/drawing/2014/main" id="{0FFBCD2C-23EE-4835-8063-1FF113C90A9A}"/>
              </a:ext>
            </a:extLst>
          </p:cNvPr>
          <p:cNvSpPr/>
          <p:nvPr/>
        </p:nvSpPr>
        <p:spPr>
          <a:xfrm>
            <a:off x="8994011" y="5379028"/>
            <a:ext cx="88112" cy="88112"/>
          </a:xfrm>
          <a:prstGeom prst="ellipse">
            <a:avLst/>
          </a:prstGeom>
          <a:solidFill>
            <a:schemeClr val="accent3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41" name="iṡľîďê">
            <a:extLst>
              <a:ext uri="{FF2B5EF4-FFF2-40B4-BE49-F238E27FC236}">
                <a16:creationId xmlns:a16="http://schemas.microsoft.com/office/drawing/2014/main" id="{2B191C7F-EEE8-40D7-8261-9784B5703AB6}"/>
              </a:ext>
            </a:extLst>
          </p:cNvPr>
          <p:cNvSpPr/>
          <p:nvPr/>
        </p:nvSpPr>
        <p:spPr bwMode="auto">
          <a:xfrm>
            <a:off x="9242342" y="5346843"/>
            <a:ext cx="1768290" cy="52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Supporting text here. </a:t>
            </a:r>
          </a:p>
          <a:p>
            <a:r>
              <a:rPr lang="en-US" altLang="zh-CN" sz="1100" dirty="0"/>
              <a:t>… …</a:t>
            </a:r>
          </a:p>
        </p:txBody>
      </p:sp>
      <p:sp>
        <p:nvSpPr>
          <p:cNvPr id="42" name="îsḷïḋe">
            <a:extLst>
              <a:ext uri="{FF2B5EF4-FFF2-40B4-BE49-F238E27FC236}">
                <a16:creationId xmlns:a16="http://schemas.microsoft.com/office/drawing/2014/main" id="{54D94D5A-0DB1-4A2E-99D4-43EE1C464ABE}"/>
              </a:ext>
            </a:extLst>
          </p:cNvPr>
          <p:cNvSpPr txBox="1"/>
          <p:nvPr/>
        </p:nvSpPr>
        <p:spPr bwMode="auto">
          <a:xfrm>
            <a:off x="9242342" y="4972270"/>
            <a:ext cx="1768290" cy="374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400" b="1" dirty="0"/>
              <a:t>Text her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455987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ḷ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ïṩḻiḍe">
            <a:extLst>
              <a:ext uri="{FF2B5EF4-FFF2-40B4-BE49-F238E27FC236}">
                <a16:creationId xmlns:a16="http://schemas.microsoft.com/office/drawing/2014/main" id="{443AABAF-033D-4C8E-973F-421DCE31E13C}"/>
              </a:ext>
            </a:extLst>
          </p:cNvPr>
          <p:cNvSpPr/>
          <p:nvPr/>
        </p:nvSpPr>
        <p:spPr>
          <a:xfrm>
            <a:off x="7629525" y="2001612"/>
            <a:ext cx="3890963" cy="3839029"/>
          </a:xfrm>
          <a:prstGeom prst="roundRect">
            <a:avLst>
              <a:gd name="adj" fmla="val 3001"/>
            </a:avLst>
          </a:prstGeom>
          <a:blipFill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" name="ï$ľîḑè">
            <a:extLst>
              <a:ext uri="{FF2B5EF4-FFF2-40B4-BE49-F238E27FC236}">
                <a16:creationId xmlns:a16="http://schemas.microsoft.com/office/drawing/2014/main" id="{B8E57F6C-B4CF-4F36-8E5F-463847D6B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s1ïḋé">
            <a:extLst>
              <a:ext uri="{FF2B5EF4-FFF2-40B4-BE49-F238E27FC236}">
                <a16:creationId xmlns:a16="http://schemas.microsoft.com/office/drawing/2014/main" id="{48502EA1-68FD-4349-AD2D-65680B72FB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ŝ1íḓê">
            <a:extLst>
              <a:ext uri="{FF2B5EF4-FFF2-40B4-BE49-F238E27FC236}">
                <a16:creationId xmlns:a16="http://schemas.microsoft.com/office/drawing/2014/main" id="{E3A5E02F-541A-48D4-96E7-D24F29491E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5" name="îŝḻî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DCE64B4-23DA-4A53-A6F8-E5607E82629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73100" y="1676754"/>
            <a:ext cx="6956425" cy="3835981"/>
            <a:chOff x="673100" y="1676754"/>
            <a:chExt cx="6956425" cy="3835981"/>
          </a:xfrm>
        </p:grpSpPr>
        <p:grpSp>
          <p:nvGrpSpPr>
            <p:cNvPr id="7" name="íšlíde">
              <a:extLst>
                <a:ext uri="{FF2B5EF4-FFF2-40B4-BE49-F238E27FC236}">
                  <a16:creationId xmlns:a16="http://schemas.microsoft.com/office/drawing/2014/main" id="{5A4CA485-D019-4733-A2E6-DB146ED8F775}"/>
                </a:ext>
              </a:extLst>
            </p:cNvPr>
            <p:cNvGrpSpPr/>
            <p:nvPr/>
          </p:nvGrpSpPr>
          <p:grpSpPr>
            <a:xfrm>
              <a:off x="673100" y="3248025"/>
              <a:ext cx="6677024" cy="2264710"/>
              <a:chOff x="673100" y="3244849"/>
              <a:chExt cx="6677024" cy="2264710"/>
            </a:xfrm>
          </p:grpSpPr>
          <p:grpSp>
            <p:nvGrpSpPr>
              <p:cNvPr id="11" name="îS1íḓé">
                <a:extLst>
                  <a:ext uri="{FF2B5EF4-FFF2-40B4-BE49-F238E27FC236}">
                    <a16:creationId xmlns:a16="http://schemas.microsoft.com/office/drawing/2014/main" id="{6FE49AF1-55A8-4708-A089-452E890CA2A6}"/>
                  </a:ext>
                </a:extLst>
              </p:cNvPr>
              <p:cNvGrpSpPr/>
              <p:nvPr/>
            </p:nvGrpSpPr>
            <p:grpSpPr>
              <a:xfrm>
                <a:off x="919161" y="3244849"/>
                <a:ext cx="5260976" cy="673102"/>
                <a:chOff x="919161" y="3244849"/>
                <a:chExt cx="5260976" cy="673102"/>
              </a:xfrm>
            </p:grpSpPr>
            <p:sp>
              <p:nvSpPr>
                <p:cNvPr id="22" name="ísļíḋe">
                  <a:extLst>
                    <a:ext uri="{FF2B5EF4-FFF2-40B4-BE49-F238E27FC236}">
                      <a16:creationId xmlns:a16="http://schemas.microsoft.com/office/drawing/2014/main" id="{84C30BC3-DE45-4BEF-AE78-493B3983D1E4}"/>
                    </a:ext>
                  </a:extLst>
                </p:cNvPr>
                <p:cNvSpPr/>
                <p:nvPr/>
              </p:nvSpPr>
              <p:spPr>
                <a:xfrm>
                  <a:off x="919161" y="3244849"/>
                  <a:ext cx="673102" cy="673102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solidFill>
                    <a:schemeClr val="bg1">
                      <a:lumMod val="95000"/>
                    </a:schemeClr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r>
                    <a:rPr lang="en-US" altLang="zh-CN" sz="2000" b="1">
                      <a:solidFill>
                        <a:schemeClr val="bg1"/>
                      </a:solidFill>
                    </a:rPr>
                    <a:t>0</a:t>
                  </a:r>
                  <a:r>
                    <a:rPr lang="en-US" altLang="zh-CN" sz="100" b="1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2000" b="1">
                      <a:solidFill>
                        <a:schemeClr val="bg1"/>
                      </a:solidFill>
                    </a:rPr>
                    <a:t>1</a:t>
                  </a:r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3" name="išḷiḓè">
                  <a:extLst>
                    <a:ext uri="{FF2B5EF4-FFF2-40B4-BE49-F238E27FC236}">
                      <a16:creationId xmlns:a16="http://schemas.microsoft.com/office/drawing/2014/main" id="{8A75B51F-8AC4-445E-B71C-1558E6F497D7}"/>
                    </a:ext>
                  </a:extLst>
                </p:cNvPr>
                <p:cNvSpPr/>
                <p:nvPr/>
              </p:nvSpPr>
              <p:spPr>
                <a:xfrm>
                  <a:off x="3213098" y="3244849"/>
                  <a:ext cx="673102" cy="673102"/>
                </a:xfrm>
                <a:prstGeom prst="ellipse">
                  <a:avLst/>
                </a:prstGeom>
                <a:solidFill>
                  <a:schemeClr val="accent2"/>
                </a:solidFill>
                <a:ln w="38100">
                  <a:solidFill>
                    <a:schemeClr val="bg1">
                      <a:lumMod val="95000"/>
                    </a:schemeClr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r>
                    <a:rPr lang="en-US" altLang="zh-CN" sz="2000" b="1">
                      <a:solidFill>
                        <a:schemeClr val="bg1"/>
                      </a:solidFill>
                    </a:rPr>
                    <a:t>0</a:t>
                  </a:r>
                  <a:r>
                    <a:rPr lang="en-US" altLang="zh-CN" sz="100" b="1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2000" b="1">
                      <a:solidFill>
                        <a:schemeClr val="bg1"/>
                      </a:solidFill>
                    </a:rPr>
                    <a:t>2</a:t>
                  </a:r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iṩḷiḍé">
                  <a:extLst>
                    <a:ext uri="{FF2B5EF4-FFF2-40B4-BE49-F238E27FC236}">
                      <a16:creationId xmlns:a16="http://schemas.microsoft.com/office/drawing/2014/main" id="{14E36614-0878-41AD-BB7C-563BC4E705AF}"/>
                    </a:ext>
                  </a:extLst>
                </p:cNvPr>
                <p:cNvSpPr/>
                <p:nvPr/>
              </p:nvSpPr>
              <p:spPr>
                <a:xfrm>
                  <a:off x="5507035" y="3244849"/>
                  <a:ext cx="673102" cy="673102"/>
                </a:xfrm>
                <a:prstGeom prst="ellipse">
                  <a:avLst/>
                </a:prstGeom>
                <a:solidFill>
                  <a:schemeClr val="accent3"/>
                </a:solidFill>
                <a:ln w="38100">
                  <a:solidFill>
                    <a:schemeClr val="bg1">
                      <a:lumMod val="95000"/>
                    </a:schemeClr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r>
                    <a:rPr lang="en-US" altLang="zh-CN" sz="2000" b="1" dirty="0">
                      <a:solidFill>
                        <a:schemeClr val="bg1"/>
                      </a:solidFill>
                    </a:rPr>
                    <a:t>0</a:t>
                  </a:r>
                  <a:r>
                    <a:rPr lang="en-US" altLang="zh-CN" sz="100" b="1" dirty="0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2000" b="1" dirty="0">
                      <a:solidFill>
                        <a:schemeClr val="bg1"/>
                      </a:solidFill>
                    </a:rPr>
                    <a:t>3</a:t>
                  </a:r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2" name="i$1iḋé">
                <a:extLst>
                  <a:ext uri="{FF2B5EF4-FFF2-40B4-BE49-F238E27FC236}">
                    <a16:creationId xmlns:a16="http://schemas.microsoft.com/office/drawing/2014/main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673100" y="4215465"/>
                <a:ext cx="2087565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</a:t>
                </a:r>
                <a:r>
                  <a:rPr lang="en-US" altLang="zh-CN" sz="100" b="1" dirty="0"/>
                  <a:t> </a:t>
                </a:r>
                <a:r>
                  <a:rPr lang="en-US" altLang="zh-CN" sz="1800" b="1" dirty="0"/>
                  <a:t>t here</a:t>
                </a:r>
                <a:endParaRPr lang="zh-CN" altLang="en-US" sz="1800" b="1" dirty="0"/>
              </a:p>
            </p:txBody>
          </p:sp>
          <p:sp>
            <p:nvSpPr>
              <p:cNvPr id="13" name="iś1ïḋe">
                <a:extLst>
                  <a:ext uri="{FF2B5EF4-FFF2-40B4-BE49-F238E27FC236}">
                    <a16:creationId xmlns:a16="http://schemas.microsoft.com/office/drawing/2014/main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674685" y="4613926"/>
                <a:ext cx="2087565" cy="8956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se </a:t>
                </a:r>
                <a:r>
                  <a:rPr lang="en-US" altLang="zh-CN" sz="1100" dirty="0"/>
                  <a:t>the only option to retain tex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5" name="îṡ1îďé">
                <a:extLst>
                  <a:ext uri="{FF2B5EF4-FFF2-40B4-BE49-F238E27FC236}">
                    <a16:creationId xmlns:a16="http://schemas.microsoft.com/office/drawing/2014/main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2967037" y="4215465"/>
                <a:ext cx="2087565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/>
                  <a:t>Tex</a:t>
                </a:r>
                <a:r>
                  <a:rPr lang="en-US" altLang="zh-CN" sz="100" b="1"/>
                  <a:t> </a:t>
                </a:r>
                <a:r>
                  <a:rPr lang="en-US" altLang="zh-CN" sz="1800" b="1"/>
                  <a:t>t </a:t>
                </a:r>
                <a:r>
                  <a:rPr lang="en-US" altLang="zh-CN" sz="1800" b="1" dirty="0"/>
                  <a:t>here</a:t>
                </a:r>
                <a:endParaRPr lang="zh-CN" altLang="en-US" sz="1800" b="1" dirty="0"/>
              </a:p>
            </p:txBody>
          </p:sp>
          <p:sp>
            <p:nvSpPr>
              <p:cNvPr id="16" name="i$ľïḑè">
                <a:extLst>
                  <a:ext uri="{FF2B5EF4-FFF2-40B4-BE49-F238E27FC236}">
                    <a16:creationId xmlns:a16="http://schemas.microsoft.com/office/drawing/2014/main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2968622" y="4613926"/>
                <a:ext cx="2087565" cy="8956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se </a:t>
                </a:r>
                <a:r>
                  <a:rPr lang="en-US" altLang="zh-CN" sz="1100" dirty="0"/>
                  <a:t>the only option to retain tex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" name="îṡ1ïḋé">
                <a:extLst>
                  <a:ext uri="{FF2B5EF4-FFF2-40B4-BE49-F238E27FC236}">
                    <a16:creationId xmlns:a16="http://schemas.microsoft.com/office/drawing/2014/main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5260974" y="4215465"/>
                <a:ext cx="2087565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</a:t>
                </a:r>
                <a:r>
                  <a:rPr lang="en-US" altLang="zh-CN" sz="100" b="1" dirty="0"/>
                  <a:t> </a:t>
                </a:r>
                <a:r>
                  <a:rPr lang="en-US" altLang="zh-CN" sz="1800" b="1" dirty="0"/>
                  <a:t>ere</a:t>
                </a:r>
                <a:endParaRPr lang="zh-CN" altLang="en-US" sz="1800" b="1" dirty="0"/>
              </a:p>
            </p:txBody>
          </p:sp>
          <p:sp>
            <p:nvSpPr>
              <p:cNvPr id="19" name="îṥḷídè">
                <a:extLst>
                  <a:ext uri="{FF2B5EF4-FFF2-40B4-BE49-F238E27FC236}">
                    <a16:creationId xmlns:a16="http://schemas.microsoft.com/office/drawing/2014/main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5262559" y="4613926"/>
                <a:ext cx="2087565" cy="8956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</a:t>
                </a:r>
                <a:r>
                  <a:rPr lang="en-US" altLang="zh-CN" sz="100" dirty="0"/>
                  <a:t> </a:t>
                </a:r>
                <a:r>
                  <a:rPr lang="en-US" altLang="zh-CN" sz="1100" dirty="0"/>
                  <a:t>o retain tex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sp>
          <p:nvSpPr>
            <p:cNvPr id="9" name="îṡḷïḍê">
              <a:extLst>
                <a:ext uri="{FF2B5EF4-FFF2-40B4-BE49-F238E27FC236}">
                  <a16:creationId xmlns:a16="http://schemas.microsoft.com/office/drawing/2014/main" id="{14D988CC-A576-405D-8C4A-CD8ABF4832F4}"/>
                </a:ext>
              </a:extLst>
            </p:cNvPr>
            <p:cNvSpPr txBox="1"/>
            <p:nvPr/>
          </p:nvSpPr>
          <p:spPr>
            <a:xfrm>
              <a:off x="673100" y="1676754"/>
              <a:ext cx="6956425" cy="10584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buSzPct val="25000"/>
              </a:pPr>
              <a:r>
                <a:rPr lang="en-US" sz="2800" b="1" dirty="0"/>
                <a:t>Unified fonts make reading</a:t>
              </a:r>
            </a:p>
            <a:p>
              <a:pPr>
                <a:buSzPct val="25000"/>
              </a:pPr>
              <a:r>
                <a:rPr lang="en-US" sz="2800" b="1" dirty="0"/>
                <a:t>m</a:t>
              </a:r>
              <a:r>
                <a:rPr lang="en-US" sz="100" b="1" dirty="0"/>
                <a:t> </a:t>
              </a:r>
              <a:r>
                <a:rPr lang="en-US" sz="2800" b="1" dirty="0"/>
                <a:t>ore fluent.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6900074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ļî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ṥļïďe">
            <a:extLst>
              <a:ext uri="{FF2B5EF4-FFF2-40B4-BE49-F238E27FC236}">
                <a16:creationId xmlns:a16="http://schemas.microsoft.com/office/drawing/2014/main" id="{E481B0A1-20DF-49B0-B10E-A38AE2159E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$ḷïḍê">
            <a:extLst>
              <a:ext uri="{FF2B5EF4-FFF2-40B4-BE49-F238E27FC236}">
                <a16:creationId xmlns:a16="http://schemas.microsoft.com/office/drawing/2014/main" id="{BE9F6E35-FB17-436A-8F23-DDF891E49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$1íḋé">
            <a:extLst>
              <a:ext uri="{FF2B5EF4-FFF2-40B4-BE49-F238E27FC236}">
                <a16:creationId xmlns:a16="http://schemas.microsoft.com/office/drawing/2014/main" id="{D80D1C19-C8BF-442A-A566-6AC915F439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7" name="íṡlîďé">
            <a:extLst>
              <a:ext uri="{FF2B5EF4-FFF2-40B4-BE49-F238E27FC236}">
                <a16:creationId xmlns:a16="http://schemas.microsoft.com/office/drawing/2014/main" id="{012A283F-841A-4A82-A2B6-2937C2321BDF}"/>
              </a:ext>
            </a:extLst>
          </p:cNvPr>
          <p:cNvSpPr txBox="1"/>
          <p:nvPr/>
        </p:nvSpPr>
        <p:spPr>
          <a:xfrm>
            <a:off x="669926" y="1466949"/>
            <a:ext cx="10850562" cy="516810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anchor="b" anchorCtr="0">
            <a:normAutofit fontScale="92500" lnSpcReduction="10000"/>
          </a:bodyPr>
          <a:lstStyle/>
          <a:p>
            <a:pPr algn="ctr">
              <a:buSzPct val="25000"/>
            </a:pPr>
            <a:r>
              <a:rPr lang="en-US" sz="3200" b="1" dirty="0"/>
              <a:t>Unified fonts ma</a:t>
            </a:r>
            <a:r>
              <a:rPr lang="en-US" sz="100" b="1" dirty="0"/>
              <a:t> </a:t>
            </a:r>
            <a:r>
              <a:rPr lang="en-US" sz="3200" b="1" dirty="0"/>
              <a:t>ke reading more fluent.</a:t>
            </a:r>
          </a:p>
        </p:txBody>
      </p:sp>
      <p:sp>
        <p:nvSpPr>
          <p:cNvPr id="8" name="ï$ḷîďe">
            <a:extLst>
              <a:ext uri="{FF2B5EF4-FFF2-40B4-BE49-F238E27FC236}">
                <a16:creationId xmlns:a16="http://schemas.microsoft.com/office/drawing/2014/main" id="{EEF82E1F-1FA4-4BDC-A086-AD93C7806519}"/>
              </a:ext>
            </a:extLst>
          </p:cNvPr>
          <p:cNvSpPr txBox="1"/>
          <p:nvPr/>
        </p:nvSpPr>
        <p:spPr>
          <a:xfrm>
            <a:off x="669925" y="1983759"/>
            <a:ext cx="10850563" cy="516810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anchor="t" anchorCtr="0">
            <a:normAutofit/>
          </a:bodyPr>
          <a:lstStyle/>
          <a:p>
            <a:pPr algn="ctr">
              <a:lnSpc>
                <a:spcPct val="130000"/>
              </a:lnSpc>
              <a:buSzPct val="25000"/>
            </a:pPr>
            <a:r>
              <a:rPr lang="en-US" altLang="zh-CN" sz="1400" dirty="0"/>
              <a:t>Theme color makes PPT more convenient to change.</a:t>
            </a:r>
          </a:p>
        </p:txBody>
      </p:sp>
      <p:sp>
        <p:nvSpPr>
          <p:cNvPr id="10" name="îs1îḍé">
            <a:extLst>
              <a:ext uri="{FF2B5EF4-FFF2-40B4-BE49-F238E27FC236}">
                <a16:creationId xmlns:a16="http://schemas.microsoft.com/office/drawing/2014/main" id="{054A72D1-77B9-4B53-BC7D-62E4FECC61D2}"/>
              </a:ext>
            </a:extLst>
          </p:cNvPr>
          <p:cNvSpPr txBox="1"/>
          <p:nvPr/>
        </p:nvSpPr>
        <p:spPr>
          <a:xfrm>
            <a:off x="1121565" y="5155071"/>
            <a:ext cx="1926108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2">
                    <a:lumMod val="65000"/>
                  </a:schemeClr>
                </a:solidFill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2">
                    <a:lumMod val="65000"/>
                  </a:schemeClr>
                </a:solidFill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2">
                    <a:lumMod val="65000"/>
                  </a:schemeClr>
                </a:solidFill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2">
                    <a:lumMod val="65000"/>
                  </a:schemeClr>
                </a:solidFill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2">
                    <a:lumMod val="65000"/>
                  </a:schemeClr>
                </a:solidFill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lvl="0" indent="0" algn="ctr" defTabSz="913765">
              <a:buSzPct val="25000"/>
              <a:buNone/>
              <a:defRPr/>
            </a:pP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. </a:t>
            </a:r>
            <a:r>
              <a:rPr lang="de-DE" altLang="zh-CN" sz="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| 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0</a:t>
            </a: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%</a:t>
            </a:r>
          </a:p>
        </p:txBody>
      </p:sp>
      <p:cxnSp>
        <p:nvCxnSpPr>
          <p:cNvPr id="11" name="iṥḷîdê">
            <a:extLst>
              <a:ext uri="{FF2B5EF4-FFF2-40B4-BE49-F238E27FC236}">
                <a16:creationId xmlns:a16="http://schemas.microsoft.com/office/drawing/2014/main" id="{23E823D4-CC30-4AB0-B7FC-D0E9A3CF0C76}"/>
              </a:ext>
            </a:extLst>
          </p:cNvPr>
          <p:cNvCxnSpPr/>
          <p:nvPr/>
        </p:nvCxnSpPr>
        <p:spPr>
          <a:xfrm>
            <a:off x="1039168" y="5087582"/>
            <a:ext cx="209090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ïŝ1ïḍe">
            <a:extLst>
              <a:ext uri="{FF2B5EF4-FFF2-40B4-BE49-F238E27FC236}">
                <a16:creationId xmlns:a16="http://schemas.microsoft.com/office/drawing/2014/main" id="{5C2F49BF-B9C4-48D0-9BA9-D320D4B6ACD0}"/>
              </a:ext>
            </a:extLst>
          </p:cNvPr>
          <p:cNvSpPr/>
          <p:nvPr/>
        </p:nvSpPr>
        <p:spPr bwMode="auto">
          <a:xfrm>
            <a:off x="1017694" y="4142234"/>
            <a:ext cx="2133850" cy="945345"/>
          </a:xfrm>
          <a:prstGeom prst="rect">
            <a:avLst/>
          </a:prstGeom>
          <a:noFill/>
          <a:ln>
            <a:noFill/>
          </a:ln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</a:t>
            </a:r>
            <a:r>
              <a:rPr lang="en-US" altLang="zh-CN" sz="1100"/>
              <a:t>paste font</a:t>
            </a:r>
            <a:r>
              <a:rPr lang="en-US" altLang="zh-CN" sz="100"/>
              <a:t> </a:t>
            </a:r>
            <a:r>
              <a:rPr lang="en-US" altLang="zh-CN" sz="1100"/>
              <a:t>s</a:t>
            </a:r>
            <a:r>
              <a:rPr lang="en-US" altLang="zh-CN" sz="1100" dirty="0"/>
              <a:t>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42" name="ïṣ1ïdê">
            <a:extLst>
              <a:ext uri="{FF2B5EF4-FFF2-40B4-BE49-F238E27FC236}">
                <a16:creationId xmlns:a16="http://schemas.microsoft.com/office/drawing/2014/main" id="{B172244A-0267-42B4-A4D7-9068F714763C}"/>
              </a:ext>
            </a:extLst>
          </p:cNvPr>
          <p:cNvSpPr/>
          <p:nvPr/>
        </p:nvSpPr>
        <p:spPr bwMode="auto">
          <a:xfrm>
            <a:off x="1841412" y="3069323"/>
            <a:ext cx="486416" cy="368247"/>
          </a:xfrm>
          <a:custGeom>
            <a:avLst/>
            <a:gdLst>
              <a:gd name="T0" fmla="*/ 212 w 224"/>
              <a:gd name="T1" fmla="*/ 0 h 168"/>
              <a:gd name="T2" fmla="*/ 224 w 224"/>
              <a:gd name="T3" fmla="*/ 12 h 168"/>
              <a:gd name="T4" fmla="*/ 224 w 224"/>
              <a:gd name="T5" fmla="*/ 156 h 168"/>
              <a:gd name="T6" fmla="*/ 212 w 224"/>
              <a:gd name="T7" fmla="*/ 168 h 168"/>
              <a:gd name="T8" fmla="*/ 12 w 224"/>
              <a:gd name="T9" fmla="*/ 168 h 168"/>
              <a:gd name="T10" fmla="*/ 0 w 224"/>
              <a:gd name="T11" fmla="*/ 156 h 168"/>
              <a:gd name="T12" fmla="*/ 0 w 224"/>
              <a:gd name="T13" fmla="*/ 12 h 168"/>
              <a:gd name="T14" fmla="*/ 12 w 224"/>
              <a:gd name="T15" fmla="*/ 0 h 168"/>
              <a:gd name="T16" fmla="*/ 212 w 224"/>
              <a:gd name="T17" fmla="*/ 0 h 168"/>
              <a:gd name="T18" fmla="*/ 164 w 224"/>
              <a:gd name="T19" fmla="*/ 83 h 168"/>
              <a:gd name="T20" fmla="*/ 147 w 224"/>
              <a:gd name="T21" fmla="*/ 85 h 168"/>
              <a:gd name="T22" fmla="*/ 112 w 224"/>
              <a:gd name="T23" fmla="*/ 132 h 168"/>
              <a:gd name="T24" fmla="*/ 111 w 224"/>
              <a:gd name="T25" fmla="*/ 133 h 168"/>
              <a:gd name="T26" fmla="*/ 94 w 224"/>
              <a:gd name="T27" fmla="*/ 134 h 168"/>
              <a:gd name="T28" fmla="*/ 68 w 224"/>
              <a:gd name="T29" fmla="*/ 108 h 168"/>
              <a:gd name="T30" fmla="*/ 67 w 224"/>
              <a:gd name="T31" fmla="*/ 107 h 168"/>
              <a:gd name="T32" fmla="*/ 50 w 224"/>
              <a:gd name="T33" fmla="*/ 109 h 168"/>
              <a:gd name="T34" fmla="*/ 13 w 224"/>
              <a:gd name="T35" fmla="*/ 153 h 168"/>
              <a:gd name="T36" fmla="*/ 12 w 224"/>
              <a:gd name="T37" fmla="*/ 156 h 168"/>
              <a:gd name="T38" fmla="*/ 16 w 224"/>
              <a:gd name="T39" fmla="*/ 160 h 168"/>
              <a:gd name="T40" fmla="*/ 209 w 224"/>
              <a:gd name="T41" fmla="*/ 160 h 168"/>
              <a:gd name="T42" fmla="*/ 211 w 224"/>
              <a:gd name="T43" fmla="*/ 159 h 168"/>
              <a:gd name="T44" fmla="*/ 212 w 224"/>
              <a:gd name="T45" fmla="*/ 154 h 168"/>
              <a:gd name="T46" fmla="*/ 167 w 224"/>
              <a:gd name="T47" fmla="*/ 86 h 168"/>
              <a:gd name="T48" fmla="*/ 164 w 224"/>
              <a:gd name="T49" fmla="*/ 83 h 168"/>
              <a:gd name="T50" fmla="*/ 40 w 224"/>
              <a:gd name="T51" fmla="*/ 24 h 168"/>
              <a:gd name="T52" fmla="*/ 24 w 224"/>
              <a:gd name="T53" fmla="*/ 40 h 168"/>
              <a:gd name="T54" fmla="*/ 40 w 224"/>
              <a:gd name="T55" fmla="*/ 56 h 168"/>
              <a:gd name="T56" fmla="*/ 56 w 224"/>
              <a:gd name="T57" fmla="*/ 40 h 168"/>
              <a:gd name="T58" fmla="*/ 40 w 224"/>
              <a:gd name="T59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24" h="168">
                <a:moveTo>
                  <a:pt x="212" y="0"/>
                </a:moveTo>
                <a:cubicBezTo>
                  <a:pt x="219" y="0"/>
                  <a:pt x="224" y="5"/>
                  <a:pt x="224" y="12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4" y="163"/>
                  <a:pt x="219" y="168"/>
                  <a:pt x="212" y="168"/>
                </a:cubicBezTo>
                <a:cubicBezTo>
                  <a:pt x="12" y="168"/>
                  <a:pt x="12" y="168"/>
                  <a:pt x="12" y="168"/>
                </a:cubicBezTo>
                <a:cubicBezTo>
                  <a:pt x="5" y="168"/>
                  <a:pt x="0" y="163"/>
                  <a:pt x="0" y="15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12" y="0"/>
                </a:lnTo>
                <a:close/>
                <a:moveTo>
                  <a:pt x="164" y="83"/>
                </a:moveTo>
                <a:cubicBezTo>
                  <a:pt x="159" y="79"/>
                  <a:pt x="151" y="80"/>
                  <a:pt x="147" y="85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112" y="133"/>
                  <a:pt x="111" y="133"/>
                  <a:pt x="111" y="133"/>
                </a:cubicBezTo>
                <a:cubicBezTo>
                  <a:pt x="106" y="138"/>
                  <a:pt x="99" y="138"/>
                  <a:pt x="94" y="134"/>
                </a:cubicBezTo>
                <a:cubicBezTo>
                  <a:pt x="68" y="108"/>
                  <a:pt x="68" y="108"/>
                  <a:pt x="68" y="108"/>
                </a:cubicBezTo>
                <a:cubicBezTo>
                  <a:pt x="67" y="107"/>
                  <a:pt x="67" y="107"/>
                  <a:pt x="67" y="107"/>
                </a:cubicBezTo>
                <a:cubicBezTo>
                  <a:pt x="62" y="103"/>
                  <a:pt x="54" y="104"/>
                  <a:pt x="50" y="109"/>
                </a:cubicBezTo>
                <a:cubicBezTo>
                  <a:pt x="13" y="153"/>
                  <a:pt x="13" y="153"/>
                  <a:pt x="13" y="153"/>
                </a:cubicBezTo>
                <a:cubicBezTo>
                  <a:pt x="13" y="154"/>
                  <a:pt x="12" y="155"/>
                  <a:pt x="12" y="156"/>
                </a:cubicBezTo>
                <a:cubicBezTo>
                  <a:pt x="12" y="158"/>
                  <a:pt x="14" y="160"/>
                  <a:pt x="16" y="160"/>
                </a:cubicBezTo>
                <a:cubicBezTo>
                  <a:pt x="209" y="160"/>
                  <a:pt x="209" y="160"/>
                  <a:pt x="209" y="160"/>
                </a:cubicBezTo>
                <a:cubicBezTo>
                  <a:pt x="209" y="160"/>
                  <a:pt x="210" y="160"/>
                  <a:pt x="211" y="159"/>
                </a:cubicBezTo>
                <a:cubicBezTo>
                  <a:pt x="213" y="158"/>
                  <a:pt x="213" y="156"/>
                  <a:pt x="212" y="154"/>
                </a:cubicBezTo>
                <a:cubicBezTo>
                  <a:pt x="167" y="86"/>
                  <a:pt x="167" y="86"/>
                  <a:pt x="167" y="86"/>
                </a:cubicBezTo>
                <a:cubicBezTo>
                  <a:pt x="166" y="85"/>
                  <a:pt x="165" y="84"/>
                  <a:pt x="164" y="83"/>
                </a:cubicBez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4" name="íṧļidé">
            <a:extLst>
              <a:ext uri="{FF2B5EF4-FFF2-40B4-BE49-F238E27FC236}">
                <a16:creationId xmlns:a16="http://schemas.microsoft.com/office/drawing/2014/main" id="{02620268-DAF8-4725-AD76-99B04BF147B9}"/>
              </a:ext>
            </a:extLst>
          </p:cNvPr>
          <p:cNvSpPr/>
          <p:nvPr/>
        </p:nvSpPr>
        <p:spPr>
          <a:xfrm>
            <a:off x="1017694" y="3689267"/>
            <a:ext cx="2133850" cy="452968"/>
          </a:xfrm>
          <a:prstGeom prst="frame">
            <a:avLst>
              <a:gd name="adj1" fmla="val 3389"/>
            </a:avLst>
          </a:prstGeom>
          <a:noFill/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>
              <a:lnSpc>
                <a:spcPct val="110000"/>
              </a:lnSpc>
            </a:pPr>
            <a:r>
              <a:rPr lang="en-US" b="1">
                <a:solidFill>
                  <a:schemeClr val="tx1"/>
                </a:solidFill>
              </a:rPr>
              <a:t>Te</a:t>
            </a:r>
            <a:r>
              <a:rPr lang="en-US" sz="100" b="1">
                <a:solidFill>
                  <a:schemeClr val="tx1"/>
                </a:solidFill>
              </a:rPr>
              <a:t> </a:t>
            </a:r>
            <a:r>
              <a:rPr lang="en-US" b="1">
                <a:solidFill>
                  <a:schemeClr val="tx1"/>
                </a:solidFill>
              </a:rPr>
              <a:t>xt </a:t>
            </a:r>
            <a:r>
              <a:rPr lang="en-US" b="1" dirty="0">
                <a:solidFill>
                  <a:schemeClr val="tx1"/>
                </a:solidFill>
              </a:rPr>
              <a:t>here</a:t>
            </a:r>
          </a:p>
        </p:txBody>
      </p:sp>
      <p:sp>
        <p:nvSpPr>
          <p:cNvPr id="15" name="íṣľíde">
            <a:extLst>
              <a:ext uri="{FF2B5EF4-FFF2-40B4-BE49-F238E27FC236}">
                <a16:creationId xmlns:a16="http://schemas.microsoft.com/office/drawing/2014/main" id="{3099FD51-4FFB-40EB-AE83-8665695CD5B8}"/>
              </a:ext>
            </a:extLst>
          </p:cNvPr>
          <p:cNvSpPr txBox="1"/>
          <p:nvPr/>
        </p:nvSpPr>
        <p:spPr>
          <a:xfrm>
            <a:off x="3781079" y="5165285"/>
            <a:ext cx="1926108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.</a:t>
            </a:r>
            <a:r>
              <a:rPr lang="de-DE" altLang="zh-CN" sz="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| 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0</a:t>
            </a: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%</a:t>
            </a:r>
          </a:p>
        </p:txBody>
      </p:sp>
      <p:cxnSp>
        <p:nvCxnSpPr>
          <p:cNvPr id="16" name="ïşḷíḍé">
            <a:extLst>
              <a:ext uri="{FF2B5EF4-FFF2-40B4-BE49-F238E27FC236}">
                <a16:creationId xmlns:a16="http://schemas.microsoft.com/office/drawing/2014/main" id="{844DB565-635A-474B-A92C-4909FDB38656}"/>
              </a:ext>
            </a:extLst>
          </p:cNvPr>
          <p:cNvCxnSpPr/>
          <p:nvPr/>
        </p:nvCxnSpPr>
        <p:spPr>
          <a:xfrm>
            <a:off x="3698682" y="5097796"/>
            <a:ext cx="209090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şlíḓè">
            <a:extLst>
              <a:ext uri="{FF2B5EF4-FFF2-40B4-BE49-F238E27FC236}">
                <a16:creationId xmlns:a16="http://schemas.microsoft.com/office/drawing/2014/main" id="{054FAACC-DB0A-4393-8793-5E623EF460D7}"/>
              </a:ext>
            </a:extLst>
          </p:cNvPr>
          <p:cNvSpPr/>
          <p:nvPr/>
        </p:nvSpPr>
        <p:spPr bwMode="auto">
          <a:xfrm>
            <a:off x="3677208" y="4152448"/>
            <a:ext cx="2133850" cy="945345"/>
          </a:xfrm>
          <a:prstGeom prst="rect">
            <a:avLst/>
          </a:prstGeom>
          <a:noFill/>
          <a:ln>
            <a:noFill/>
          </a:ln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</a:t>
            </a:r>
            <a:r>
              <a:rPr lang="en-US" altLang="zh-CN" sz="1100"/>
              <a:t>paste font</a:t>
            </a:r>
            <a:r>
              <a:rPr lang="en-US" altLang="zh-CN" sz="100"/>
              <a:t> </a:t>
            </a:r>
            <a:r>
              <a:rPr lang="en-US" altLang="zh-CN" sz="1100"/>
              <a:t>s</a:t>
            </a:r>
            <a:r>
              <a:rPr lang="en-US" altLang="zh-CN" sz="1100" dirty="0"/>
              <a:t>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46" name="îşḷîḓe">
            <a:extLst>
              <a:ext uri="{FF2B5EF4-FFF2-40B4-BE49-F238E27FC236}">
                <a16:creationId xmlns:a16="http://schemas.microsoft.com/office/drawing/2014/main" id="{C2F4E241-062F-48F5-A171-D9D5D477CF21}"/>
              </a:ext>
            </a:extLst>
          </p:cNvPr>
          <p:cNvSpPr/>
          <p:nvPr/>
        </p:nvSpPr>
        <p:spPr bwMode="auto">
          <a:xfrm>
            <a:off x="4500926" y="3073214"/>
            <a:ext cx="486416" cy="391993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9" name="iš1iḋé">
            <a:extLst>
              <a:ext uri="{FF2B5EF4-FFF2-40B4-BE49-F238E27FC236}">
                <a16:creationId xmlns:a16="http://schemas.microsoft.com/office/drawing/2014/main" id="{59C810C6-43AC-4E36-9467-C09FBC19C49C}"/>
              </a:ext>
            </a:extLst>
          </p:cNvPr>
          <p:cNvSpPr/>
          <p:nvPr/>
        </p:nvSpPr>
        <p:spPr>
          <a:xfrm>
            <a:off x="3677208" y="3699481"/>
            <a:ext cx="2133850" cy="452968"/>
          </a:xfrm>
          <a:prstGeom prst="frame">
            <a:avLst>
              <a:gd name="adj1" fmla="val 3389"/>
            </a:avLst>
          </a:prstGeom>
          <a:noFill/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b="1">
                <a:solidFill>
                  <a:schemeClr val="tx1"/>
                </a:solidFill>
              </a:rPr>
              <a:t>Te</a:t>
            </a:r>
            <a:r>
              <a:rPr lang="en-US" sz="100" b="1">
                <a:solidFill>
                  <a:schemeClr val="tx1"/>
                </a:solidFill>
              </a:rPr>
              <a:t> </a:t>
            </a:r>
            <a:r>
              <a:rPr lang="en-US" b="1">
                <a:solidFill>
                  <a:schemeClr val="tx1"/>
                </a:solidFill>
              </a:rPr>
              <a:t>xt </a:t>
            </a:r>
            <a:r>
              <a:rPr lang="en-US" b="1" dirty="0">
                <a:solidFill>
                  <a:schemeClr val="tx1"/>
                </a:solidFill>
              </a:rPr>
              <a:t>here</a:t>
            </a:r>
          </a:p>
        </p:txBody>
      </p:sp>
      <p:sp>
        <p:nvSpPr>
          <p:cNvPr id="20" name="iSľidè">
            <a:extLst>
              <a:ext uri="{FF2B5EF4-FFF2-40B4-BE49-F238E27FC236}">
                <a16:creationId xmlns:a16="http://schemas.microsoft.com/office/drawing/2014/main" id="{7EDC8534-0214-480B-A45D-FD9AF56097CA}"/>
              </a:ext>
            </a:extLst>
          </p:cNvPr>
          <p:cNvSpPr txBox="1"/>
          <p:nvPr/>
        </p:nvSpPr>
        <p:spPr>
          <a:xfrm>
            <a:off x="6440593" y="5167565"/>
            <a:ext cx="1926108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.</a:t>
            </a:r>
            <a:r>
              <a:rPr lang="de-DE" altLang="zh-CN" sz="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| 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0</a:t>
            </a: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%</a:t>
            </a:r>
          </a:p>
        </p:txBody>
      </p:sp>
      <p:cxnSp>
        <p:nvCxnSpPr>
          <p:cNvPr id="21" name="îśļïdè">
            <a:extLst>
              <a:ext uri="{FF2B5EF4-FFF2-40B4-BE49-F238E27FC236}">
                <a16:creationId xmlns:a16="http://schemas.microsoft.com/office/drawing/2014/main" id="{9852ABF4-A137-4E84-B575-B0A265176D99}"/>
              </a:ext>
            </a:extLst>
          </p:cNvPr>
          <p:cNvCxnSpPr/>
          <p:nvPr/>
        </p:nvCxnSpPr>
        <p:spPr>
          <a:xfrm>
            <a:off x="6358196" y="5100076"/>
            <a:ext cx="209090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íṡlíḓe">
            <a:extLst>
              <a:ext uri="{FF2B5EF4-FFF2-40B4-BE49-F238E27FC236}">
                <a16:creationId xmlns:a16="http://schemas.microsoft.com/office/drawing/2014/main" id="{187858DE-86BD-4E65-A676-A008F5320F1C}"/>
              </a:ext>
            </a:extLst>
          </p:cNvPr>
          <p:cNvSpPr/>
          <p:nvPr/>
        </p:nvSpPr>
        <p:spPr bwMode="auto">
          <a:xfrm>
            <a:off x="6336722" y="4154728"/>
            <a:ext cx="2133850" cy="945345"/>
          </a:xfrm>
          <a:prstGeom prst="rect">
            <a:avLst/>
          </a:prstGeom>
          <a:noFill/>
          <a:ln>
            <a:noFill/>
          </a:ln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</a:t>
            </a:r>
            <a:r>
              <a:rPr lang="en-US" altLang="zh-CN" sz="1100"/>
              <a:t>only op</a:t>
            </a:r>
            <a:r>
              <a:rPr lang="en-US" altLang="zh-CN" sz="100"/>
              <a:t> </a:t>
            </a:r>
            <a:r>
              <a:rPr lang="en-US" altLang="zh-CN" sz="1100"/>
              <a:t>tion </a:t>
            </a:r>
            <a:r>
              <a:rPr lang="en-US" altLang="zh-CN" sz="1100" dirty="0"/>
              <a:t>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47" name="îş1íḍe">
            <a:extLst>
              <a:ext uri="{FF2B5EF4-FFF2-40B4-BE49-F238E27FC236}">
                <a16:creationId xmlns:a16="http://schemas.microsoft.com/office/drawing/2014/main" id="{6F1608A4-2C19-44D5-9A39-A266EA27E4A5}"/>
              </a:ext>
            </a:extLst>
          </p:cNvPr>
          <p:cNvSpPr/>
          <p:nvPr/>
        </p:nvSpPr>
        <p:spPr bwMode="auto">
          <a:xfrm>
            <a:off x="7225482" y="3029521"/>
            <a:ext cx="356328" cy="486416"/>
          </a:xfrm>
          <a:custGeom>
            <a:avLst/>
            <a:gdLst>
              <a:gd name="T0" fmla="*/ 36 w 160"/>
              <a:gd name="T1" fmla="*/ 16 h 216"/>
              <a:gd name="T2" fmla="*/ 36 w 160"/>
              <a:gd name="T3" fmla="*/ 24 h 216"/>
              <a:gd name="T4" fmla="*/ 51 w 160"/>
              <a:gd name="T5" fmla="*/ 40 h 216"/>
              <a:gd name="T6" fmla="*/ 52 w 160"/>
              <a:gd name="T7" fmla="*/ 40 h 216"/>
              <a:gd name="T8" fmla="*/ 108 w 160"/>
              <a:gd name="T9" fmla="*/ 40 h 216"/>
              <a:gd name="T10" fmla="*/ 124 w 160"/>
              <a:gd name="T11" fmla="*/ 25 h 216"/>
              <a:gd name="T12" fmla="*/ 124 w 160"/>
              <a:gd name="T13" fmla="*/ 24 h 216"/>
              <a:gd name="T14" fmla="*/ 124 w 160"/>
              <a:gd name="T15" fmla="*/ 16 h 216"/>
              <a:gd name="T16" fmla="*/ 148 w 160"/>
              <a:gd name="T17" fmla="*/ 16 h 216"/>
              <a:gd name="T18" fmla="*/ 160 w 160"/>
              <a:gd name="T19" fmla="*/ 28 h 216"/>
              <a:gd name="T20" fmla="*/ 160 w 160"/>
              <a:gd name="T21" fmla="*/ 204 h 216"/>
              <a:gd name="T22" fmla="*/ 148 w 160"/>
              <a:gd name="T23" fmla="*/ 216 h 216"/>
              <a:gd name="T24" fmla="*/ 12 w 160"/>
              <a:gd name="T25" fmla="*/ 216 h 216"/>
              <a:gd name="T26" fmla="*/ 0 w 160"/>
              <a:gd name="T27" fmla="*/ 204 h 216"/>
              <a:gd name="T28" fmla="*/ 0 w 160"/>
              <a:gd name="T29" fmla="*/ 28 h 216"/>
              <a:gd name="T30" fmla="*/ 12 w 160"/>
              <a:gd name="T31" fmla="*/ 16 h 216"/>
              <a:gd name="T32" fmla="*/ 36 w 160"/>
              <a:gd name="T33" fmla="*/ 16 h 216"/>
              <a:gd name="T34" fmla="*/ 80 w 160"/>
              <a:gd name="T35" fmla="*/ 140 h 216"/>
              <a:gd name="T36" fmla="*/ 32 w 160"/>
              <a:gd name="T37" fmla="*/ 140 h 216"/>
              <a:gd name="T38" fmla="*/ 32 w 160"/>
              <a:gd name="T39" fmla="*/ 148 h 216"/>
              <a:gd name="T40" fmla="*/ 80 w 160"/>
              <a:gd name="T41" fmla="*/ 148 h 216"/>
              <a:gd name="T42" fmla="*/ 80 w 160"/>
              <a:gd name="T43" fmla="*/ 140 h 216"/>
              <a:gd name="T44" fmla="*/ 128 w 160"/>
              <a:gd name="T45" fmla="*/ 108 h 216"/>
              <a:gd name="T46" fmla="*/ 32 w 160"/>
              <a:gd name="T47" fmla="*/ 108 h 216"/>
              <a:gd name="T48" fmla="*/ 32 w 160"/>
              <a:gd name="T49" fmla="*/ 116 h 216"/>
              <a:gd name="T50" fmla="*/ 128 w 160"/>
              <a:gd name="T51" fmla="*/ 116 h 216"/>
              <a:gd name="T52" fmla="*/ 128 w 160"/>
              <a:gd name="T53" fmla="*/ 108 h 216"/>
              <a:gd name="T54" fmla="*/ 128 w 160"/>
              <a:gd name="T55" fmla="*/ 76 h 216"/>
              <a:gd name="T56" fmla="*/ 32 w 160"/>
              <a:gd name="T57" fmla="*/ 76 h 216"/>
              <a:gd name="T58" fmla="*/ 32 w 160"/>
              <a:gd name="T59" fmla="*/ 84 h 216"/>
              <a:gd name="T60" fmla="*/ 128 w 160"/>
              <a:gd name="T61" fmla="*/ 84 h 216"/>
              <a:gd name="T62" fmla="*/ 128 w 160"/>
              <a:gd name="T63" fmla="*/ 76 h 216"/>
              <a:gd name="T64" fmla="*/ 104 w 160"/>
              <a:gd name="T65" fmla="*/ 0 h 216"/>
              <a:gd name="T66" fmla="*/ 116 w 160"/>
              <a:gd name="T67" fmla="*/ 12 h 216"/>
              <a:gd name="T68" fmla="*/ 116 w 160"/>
              <a:gd name="T69" fmla="*/ 20 h 216"/>
              <a:gd name="T70" fmla="*/ 104 w 160"/>
              <a:gd name="T71" fmla="*/ 32 h 216"/>
              <a:gd name="T72" fmla="*/ 56 w 160"/>
              <a:gd name="T73" fmla="*/ 32 h 216"/>
              <a:gd name="T74" fmla="*/ 44 w 160"/>
              <a:gd name="T75" fmla="*/ 20 h 216"/>
              <a:gd name="T76" fmla="*/ 44 w 160"/>
              <a:gd name="T77" fmla="*/ 12 h 216"/>
              <a:gd name="T78" fmla="*/ 56 w 160"/>
              <a:gd name="T79" fmla="*/ 0 h 216"/>
              <a:gd name="T80" fmla="*/ 104 w 160"/>
              <a:gd name="T8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" h="216">
                <a:moveTo>
                  <a:pt x="36" y="16"/>
                </a:moveTo>
                <a:cubicBezTo>
                  <a:pt x="36" y="24"/>
                  <a:pt x="36" y="24"/>
                  <a:pt x="36" y="24"/>
                </a:cubicBezTo>
                <a:cubicBezTo>
                  <a:pt x="36" y="33"/>
                  <a:pt x="43" y="40"/>
                  <a:pt x="51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108" y="40"/>
                  <a:pt x="108" y="40"/>
                  <a:pt x="108" y="40"/>
                </a:cubicBezTo>
                <a:cubicBezTo>
                  <a:pt x="117" y="40"/>
                  <a:pt x="124" y="33"/>
                  <a:pt x="124" y="25"/>
                </a:cubicBezTo>
                <a:cubicBezTo>
                  <a:pt x="124" y="24"/>
                  <a:pt x="124" y="24"/>
                  <a:pt x="124" y="24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48" y="16"/>
                  <a:pt x="148" y="16"/>
                  <a:pt x="148" y="16"/>
                </a:cubicBezTo>
                <a:cubicBezTo>
                  <a:pt x="155" y="16"/>
                  <a:pt x="160" y="21"/>
                  <a:pt x="160" y="28"/>
                </a:cubicBezTo>
                <a:cubicBezTo>
                  <a:pt x="160" y="204"/>
                  <a:pt x="160" y="204"/>
                  <a:pt x="160" y="204"/>
                </a:cubicBezTo>
                <a:cubicBezTo>
                  <a:pt x="160" y="211"/>
                  <a:pt x="155" y="216"/>
                  <a:pt x="148" y="216"/>
                </a:cubicBezTo>
                <a:cubicBezTo>
                  <a:pt x="12" y="216"/>
                  <a:pt x="12" y="216"/>
                  <a:pt x="12" y="216"/>
                </a:cubicBezTo>
                <a:cubicBezTo>
                  <a:pt x="5" y="216"/>
                  <a:pt x="0" y="211"/>
                  <a:pt x="0" y="20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1"/>
                  <a:pt x="5" y="16"/>
                  <a:pt x="12" y="16"/>
                </a:cubicBezTo>
                <a:lnTo>
                  <a:pt x="36" y="16"/>
                </a:lnTo>
                <a:close/>
                <a:moveTo>
                  <a:pt x="80" y="140"/>
                </a:moveTo>
                <a:cubicBezTo>
                  <a:pt x="32" y="140"/>
                  <a:pt x="32" y="140"/>
                  <a:pt x="32" y="140"/>
                </a:cubicBezTo>
                <a:cubicBezTo>
                  <a:pt x="32" y="148"/>
                  <a:pt x="32" y="148"/>
                  <a:pt x="32" y="148"/>
                </a:cubicBezTo>
                <a:cubicBezTo>
                  <a:pt x="80" y="148"/>
                  <a:pt x="80" y="148"/>
                  <a:pt x="80" y="148"/>
                </a:cubicBezTo>
                <a:lnTo>
                  <a:pt x="80" y="140"/>
                </a:lnTo>
                <a:close/>
                <a:moveTo>
                  <a:pt x="128" y="108"/>
                </a:moveTo>
                <a:cubicBezTo>
                  <a:pt x="32" y="108"/>
                  <a:pt x="32" y="108"/>
                  <a:pt x="32" y="108"/>
                </a:cubicBezTo>
                <a:cubicBezTo>
                  <a:pt x="32" y="116"/>
                  <a:pt x="32" y="116"/>
                  <a:pt x="32" y="116"/>
                </a:cubicBezTo>
                <a:cubicBezTo>
                  <a:pt x="128" y="116"/>
                  <a:pt x="128" y="116"/>
                  <a:pt x="128" y="116"/>
                </a:cubicBezTo>
                <a:lnTo>
                  <a:pt x="128" y="108"/>
                </a:lnTo>
                <a:close/>
                <a:moveTo>
                  <a:pt x="128" y="76"/>
                </a:moveTo>
                <a:cubicBezTo>
                  <a:pt x="32" y="76"/>
                  <a:pt x="32" y="76"/>
                  <a:pt x="32" y="76"/>
                </a:cubicBezTo>
                <a:cubicBezTo>
                  <a:pt x="32" y="84"/>
                  <a:pt x="32" y="84"/>
                  <a:pt x="32" y="84"/>
                </a:cubicBezTo>
                <a:cubicBezTo>
                  <a:pt x="128" y="84"/>
                  <a:pt x="128" y="84"/>
                  <a:pt x="128" y="84"/>
                </a:cubicBezTo>
                <a:lnTo>
                  <a:pt x="128" y="76"/>
                </a:lnTo>
                <a:close/>
                <a:moveTo>
                  <a:pt x="104" y="0"/>
                </a:moveTo>
                <a:cubicBezTo>
                  <a:pt x="111" y="0"/>
                  <a:pt x="116" y="5"/>
                  <a:pt x="116" y="12"/>
                </a:cubicBezTo>
                <a:cubicBezTo>
                  <a:pt x="116" y="20"/>
                  <a:pt x="116" y="20"/>
                  <a:pt x="116" y="20"/>
                </a:cubicBezTo>
                <a:cubicBezTo>
                  <a:pt x="116" y="27"/>
                  <a:pt x="111" y="32"/>
                  <a:pt x="104" y="32"/>
                </a:cubicBezTo>
                <a:cubicBezTo>
                  <a:pt x="56" y="32"/>
                  <a:pt x="56" y="32"/>
                  <a:pt x="56" y="32"/>
                </a:cubicBezTo>
                <a:cubicBezTo>
                  <a:pt x="49" y="32"/>
                  <a:pt x="44" y="27"/>
                  <a:pt x="44" y="20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5"/>
                  <a:pt x="49" y="0"/>
                  <a:pt x="56" y="0"/>
                </a:cubicBezTo>
                <a:lnTo>
                  <a:pt x="10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" name="ïŝḻiḋe">
            <a:extLst>
              <a:ext uri="{FF2B5EF4-FFF2-40B4-BE49-F238E27FC236}">
                <a16:creationId xmlns:a16="http://schemas.microsoft.com/office/drawing/2014/main" id="{4DA9ECFF-6A85-4318-B73A-C8D67A156C8C}"/>
              </a:ext>
            </a:extLst>
          </p:cNvPr>
          <p:cNvSpPr/>
          <p:nvPr/>
        </p:nvSpPr>
        <p:spPr>
          <a:xfrm>
            <a:off x="6336722" y="3701761"/>
            <a:ext cx="2133850" cy="452968"/>
          </a:xfrm>
          <a:prstGeom prst="frame">
            <a:avLst>
              <a:gd name="adj1" fmla="val 3389"/>
            </a:avLst>
          </a:prstGeom>
          <a:noFill/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b="1">
                <a:solidFill>
                  <a:schemeClr val="tx1"/>
                </a:solidFill>
              </a:rPr>
              <a:t>Text </a:t>
            </a:r>
            <a:r>
              <a:rPr lang="en-US" sz="100" b="1">
                <a:solidFill>
                  <a:schemeClr val="tx1"/>
                </a:solidFill>
              </a:rPr>
              <a:t> </a:t>
            </a:r>
            <a:r>
              <a:rPr lang="en-US" b="1">
                <a:solidFill>
                  <a:schemeClr val="tx1"/>
                </a:solidFill>
              </a:rPr>
              <a:t>here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5" name="iṧḷiḍè">
            <a:extLst>
              <a:ext uri="{FF2B5EF4-FFF2-40B4-BE49-F238E27FC236}">
                <a16:creationId xmlns:a16="http://schemas.microsoft.com/office/drawing/2014/main" id="{4C80E4B4-09BD-43AA-9828-4DBEA3919304}"/>
              </a:ext>
            </a:extLst>
          </p:cNvPr>
          <p:cNvSpPr txBox="1"/>
          <p:nvPr/>
        </p:nvSpPr>
        <p:spPr>
          <a:xfrm>
            <a:off x="9144327" y="5155062"/>
            <a:ext cx="1926108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.  |</a:t>
            </a:r>
            <a:r>
              <a:rPr lang="de-DE" altLang="zh-CN" sz="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0</a:t>
            </a:r>
            <a:r>
              <a:rPr lang="de-DE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%</a:t>
            </a:r>
          </a:p>
        </p:txBody>
      </p:sp>
      <p:cxnSp>
        <p:nvCxnSpPr>
          <p:cNvPr id="26" name="iSḷïḓè">
            <a:extLst>
              <a:ext uri="{FF2B5EF4-FFF2-40B4-BE49-F238E27FC236}">
                <a16:creationId xmlns:a16="http://schemas.microsoft.com/office/drawing/2014/main" id="{EBC8342F-2C9C-43CD-90E1-3A4362C67C0E}"/>
              </a:ext>
            </a:extLst>
          </p:cNvPr>
          <p:cNvCxnSpPr/>
          <p:nvPr/>
        </p:nvCxnSpPr>
        <p:spPr>
          <a:xfrm>
            <a:off x="9061930" y="5087573"/>
            <a:ext cx="209090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îṧḻíḋè">
            <a:extLst>
              <a:ext uri="{FF2B5EF4-FFF2-40B4-BE49-F238E27FC236}">
                <a16:creationId xmlns:a16="http://schemas.microsoft.com/office/drawing/2014/main" id="{5BD29D59-A897-4E39-924D-8882BFE3C1AB}"/>
              </a:ext>
            </a:extLst>
          </p:cNvPr>
          <p:cNvSpPr/>
          <p:nvPr/>
        </p:nvSpPr>
        <p:spPr bwMode="auto">
          <a:xfrm>
            <a:off x="9040456" y="4142225"/>
            <a:ext cx="2133850" cy="945345"/>
          </a:xfrm>
          <a:prstGeom prst="rect">
            <a:avLst/>
          </a:prstGeom>
          <a:noFill/>
          <a:ln>
            <a:noFill/>
          </a:ln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</a:t>
            </a:r>
            <a:r>
              <a:rPr lang="en-US" altLang="zh-CN" sz="100" dirty="0"/>
              <a:t> </a:t>
            </a:r>
            <a:r>
              <a:rPr lang="en-US" altLang="zh-CN" sz="1100" dirty="0" err="1"/>
              <a:t>tion</a:t>
            </a:r>
            <a:r>
              <a:rPr lang="en-US" altLang="zh-CN" sz="1100" dirty="0"/>
              <a:t>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30" name="ïš1ïḍè">
            <a:extLst>
              <a:ext uri="{FF2B5EF4-FFF2-40B4-BE49-F238E27FC236}">
                <a16:creationId xmlns:a16="http://schemas.microsoft.com/office/drawing/2014/main" id="{0C1AA52E-DD4C-4A5D-83B3-56A19A82EE67}"/>
              </a:ext>
            </a:extLst>
          </p:cNvPr>
          <p:cNvSpPr/>
          <p:nvPr/>
        </p:nvSpPr>
        <p:spPr bwMode="auto">
          <a:xfrm>
            <a:off x="9864174" y="3056620"/>
            <a:ext cx="486416" cy="407200"/>
          </a:xfrm>
          <a:custGeom>
            <a:avLst/>
            <a:gdLst>
              <a:gd name="T0" fmla="*/ 203 w 222"/>
              <a:gd name="T1" fmla="*/ 56 h 184"/>
              <a:gd name="T2" fmla="*/ 222 w 222"/>
              <a:gd name="T3" fmla="*/ 75 h 184"/>
              <a:gd name="T4" fmla="*/ 221 w 222"/>
              <a:gd name="T5" fmla="*/ 76 h 184"/>
              <a:gd name="T6" fmla="*/ 216 w 222"/>
              <a:gd name="T7" fmla="*/ 149 h 184"/>
              <a:gd name="T8" fmla="*/ 204 w 222"/>
              <a:gd name="T9" fmla="*/ 160 h 184"/>
              <a:gd name="T10" fmla="*/ 191 w 222"/>
              <a:gd name="T11" fmla="*/ 160 h 184"/>
              <a:gd name="T12" fmla="*/ 191 w 222"/>
              <a:gd name="T13" fmla="*/ 184 h 184"/>
              <a:gd name="T14" fmla="*/ 183 w 222"/>
              <a:gd name="T15" fmla="*/ 184 h 184"/>
              <a:gd name="T16" fmla="*/ 183 w 222"/>
              <a:gd name="T17" fmla="*/ 160 h 184"/>
              <a:gd name="T18" fmla="*/ 39 w 222"/>
              <a:gd name="T19" fmla="*/ 160 h 184"/>
              <a:gd name="T20" fmla="*/ 39 w 222"/>
              <a:gd name="T21" fmla="*/ 184 h 184"/>
              <a:gd name="T22" fmla="*/ 31 w 222"/>
              <a:gd name="T23" fmla="*/ 184 h 184"/>
              <a:gd name="T24" fmla="*/ 31 w 222"/>
              <a:gd name="T25" fmla="*/ 160 h 184"/>
              <a:gd name="T26" fmla="*/ 18 w 222"/>
              <a:gd name="T27" fmla="*/ 160 h 184"/>
              <a:gd name="T28" fmla="*/ 6 w 222"/>
              <a:gd name="T29" fmla="*/ 149 h 184"/>
              <a:gd name="T30" fmla="*/ 1 w 222"/>
              <a:gd name="T31" fmla="*/ 76 h 184"/>
              <a:gd name="T32" fmla="*/ 18 w 222"/>
              <a:gd name="T33" fmla="*/ 56 h 184"/>
              <a:gd name="T34" fmla="*/ 19 w 222"/>
              <a:gd name="T35" fmla="*/ 56 h 184"/>
              <a:gd name="T36" fmla="*/ 43 w 222"/>
              <a:gd name="T37" fmla="*/ 76 h 184"/>
              <a:gd name="T38" fmla="*/ 51 w 222"/>
              <a:gd name="T39" fmla="*/ 120 h 184"/>
              <a:gd name="T40" fmla="*/ 171 w 222"/>
              <a:gd name="T41" fmla="*/ 120 h 184"/>
              <a:gd name="T42" fmla="*/ 179 w 222"/>
              <a:gd name="T43" fmla="*/ 76 h 184"/>
              <a:gd name="T44" fmla="*/ 203 w 222"/>
              <a:gd name="T45" fmla="*/ 56 h 184"/>
              <a:gd name="T46" fmla="*/ 175 w 222"/>
              <a:gd name="T47" fmla="*/ 0 h 184"/>
              <a:gd name="T48" fmla="*/ 203 w 222"/>
              <a:gd name="T49" fmla="*/ 28 h 184"/>
              <a:gd name="T50" fmla="*/ 203 w 222"/>
              <a:gd name="T51" fmla="*/ 48 h 184"/>
              <a:gd name="T52" fmla="*/ 200 w 222"/>
              <a:gd name="T53" fmla="*/ 48 h 184"/>
              <a:gd name="T54" fmla="*/ 173 w 222"/>
              <a:gd name="T55" fmla="*/ 70 h 184"/>
              <a:gd name="T56" fmla="*/ 173 w 222"/>
              <a:gd name="T57" fmla="*/ 71 h 184"/>
              <a:gd name="T58" fmla="*/ 165 w 222"/>
              <a:gd name="T59" fmla="*/ 112 h 184"/>
              <a:gd name="T60" fmla="*/ 57 w 222"/>
              <a:gd name="T61" fmla="*/ 112 h 184"/>
              <a:gd name="T62" fmla="*/ 49 w 222"/>
              <a:gd name="T63" fmla="*/ 71 h 184"/>
              <a:gd name="T64" fmla="*/ 22 w 222"/>
              <a:gd name="T65" fmla="*/ 48 h 184"/>
              <a:gd name="T66" fmla="*/ 23 w 222"/>
              <a:gd name="T67" fmla="*/ 28 h 184"/>
              <a:gd name="T68" fmla="*/ 51 w 222"/>
              <a:gd name="T69" fmla="*/ 0 h 184"/>
              <a:gd name="T70" fmla="*/ 175 w 222"/>
              <a:gd name="T71" fmla="*/ 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2" h="184">
                <a:moveTo>
                  <a:pt x="203" y="56"/>
                </a:moveTo>
                <a:cubicBezTo>
                  <a:pt x="213" y="56"/>
                  <a:pt x="222" y="64"/>
                  <a:pt x="222" y="75"/>
                </a:cubicBezTo>
                <a:cubicBezTo>
                  <a:pt x="222" y="75"/>
                  <a:pt x="222" y="75"/>
                  <a:pt x="221" y="76"/>
                </a:cubicBezTo>
                <a:cubicBezTo>
                  <a:pt x="216" y="149"/>
                  <a:pt x="216" y="149"/>
                  <a:pt x="216" y="149"/>
                </a:cubicBezTo>
                <a:cubicBezTo>
                  <a:pt x="215" y="155"/>
                  <a:pt x="210" y="160"/>
                  <a:pt x="204" y="160"/>
                </a:cubicBezTo>
                <a:cubicBezTo>
                  <a:pt x="191" y="160"/>
                  <a:pt x="191" y="160"/>
                  <a:pt x="191" y="160"/>
                </a:cubicBezTo>
                <a:cubicBezTo>
                  <a:pt x="191" y="184"/>
                  <a:pt x="191" y="184"/>
                  <a:pt x="191" y="184"/>
                </a:cubicBezTo>
                <a:cubicBezTo>
                  <a:pt x="183" y="184"/>
                  <a:pt x="183" y="184"/>
                  <a:pt x="183" y="184"/>
                </a:cubicBezTo>
                <a:cubicBezTo>
                  <a:pt x="183" y="160"/>
                  <a:pt x="183" y="160"/>
                  <a:pt x="183" y="160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39" y="184"/>
                  <a:pt x="39" y="184"/>
                  <a:pt x="39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31" y="160"/>
                  <a:pt x="31" y="160"/>
                  <a:pt x="31" y="160"/>
                </a:cubicBezTo>
                <a:cubicBezTo>
                  <a:pt x="18" y="160"/>
                  <a:pt x="18" y="160"/>
                  <a:pt x="18" y="160"/>
                </a:cubicBezTo>
                <a:cubicBezTo>
                  <a:pt x="12" y="160"/>
                  <a:pt x="7" y="155"/>
                  <a:pt x="6" y="149"/>
                </a:cubicBezTo>
                <a:cubicBezTo>
                  <a:pt x="1" y="76"/>
                  <a:pt x="1" y="76"/>
                  <a:pt x="1" y="76"/>
                </a:cubicBezTo>
                <a:cubicBezTo>
                  <a:pt x="0" y="66"/>
                  <a:pt x="7" y="57"/>
                  <a:pt x="18" y="56"/>
                </a:cubicBezTo>
                <a:cubicBezTo>
                  <a:pt x="18" y="56"/>
                  <a:pt x="19" y="56"/>
                  <a:pt x="19" y="56"/>
                </a:cubicBezTo>
                <a:cubicBezTo>
                  <a:pt x="31" y="56"/>
                  <a:pt x="41" y="64"/>
                  <a:pt x="43" y="76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171" y="120"/>
                  <a:pt x="171" y="120"/>
                  <a:pt x="171" y="120"/>
                </a:cubicBezTo>
                <a:cubicBezTo>
                  <a:pt x="179" y="76"/>
                  <a:pt x="179" y="76"/>
                  <a:pt x="179" y="76"/>
                </a:cubicBezTo>
                <a:cubicBezTo>
                  <a:pt x="181" y="64"/>
                  <a:pt x="191" y="56"/>
                  <a:pt x="203" y="56"/>
                </a:cubicBezTo>
                <a:close/>
                <a:moveTo>
                  <a:pt x="175" y="0"/>
                </a:moveTo>
                <a:cubicBezTo>
                  <a:pt x="190" y="0"/>
                  <a:pt x="203" y="13"/>
                  <a:pt x="203" y="28"/>
                </a:cubicBezTo>
                <a:cubicBezTo>
                  <a:pt x="203" y="48"/>
                  <a:pt x="203" y="48"/>
                  <a:pt x="203" y="48"/>
                </a:cubicBezTo>
                <a:cubicBezTo>
                  <a:pt x="202" y="48"/>
                  <a:pt x="201" y="48"/>
                  <a:pt x="200" y="48"/>
                </a:cubicBezTo>
                <a:cubicBezTo>
                  <a:pt x="187" y="48"/>
                  <a:pt x="176" y="57"/>
                  <a:pt x="173" y="70"/>
                </a:cubicBezTo>
                <a:cubicBezTo>
                  <a:pt x="173" y="71"/>
                  <a:pt x="173" y="71"/>
                  <a:pt x="173" y="71"/>
                </a:cubicBezTo>
                <a:cubicBezTo>
                  <a:pt x="165" y="112"/>
                  <a:pt x="165" y="112"/>
                  <a:pt x="165" y="112"/>
                </a:cubicBezTo>
                <a:cubicBezTo>
                  <a:pt x="57" y="112"/>
                  <a:pt x="57" y="112"/>
                  <a:pt x="57" y="112"/>
                </a:cubicBezTo>
                <a:cubicBezTo>
                  <a:pt x="49" y="71"/>
                  <a:pt x="49" y="71"/>
                  <a:pt x="49" y="71"/>
                </a:cubicBezTo>
                <a:cubicBezTo>
                  <a:pt x="47" y="57"/>
                  <a:pt x="35" y="48"/>
                  <a:pt x="22" y="48"/>
                </a:cubicBezTo>
                <a:cubicBezTo>
                  <a:pt x="23" y="28"/>
                  <a:pt x="23" y="28"/>
                  <a:pt x="23" y="28"/>
                </a:cubicBezTo>
                <a:cubicBezTo>
                  <a:pt x="23" y="13"/>
                  <a:pt x="36" y="0"/>
                  <a:pt x="51" y="0"/>
                </a:cubicBezTo>
                <a:lnTo>
                  <a:pt x="17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9" name="îŝļíḋè">
            <a:extLst>
              <a:ext uri="{FF2B5EF4-FFF2-40B4-BE49-F238E27FC236}">
                <a16:creationId xmlns:a16="http://schemas.microsoft.com/office/drawing/2014/main" id="{164E2442-277B-4581-A95B-8D23FD4B234D}"/>
              </a:ext>
            </a:extLst>
          </p:cNvPr>
          <p:cNvSpPr/>
          <p:nvPr/>
        </p:nvSpPr>
        <p:spPr>
          <a:xfrm>
            <a:off x="9040456" y="3689258"/>
            <a:ext cx="2133850" cy="452968"/>
          </a:xfrm>
          <a:prstGeom prst="frame">
            <a:avLst>
              <a:gd name="adj1" fmla="val 3389"/>
            </a:avLst>
          </a:prstGeom>
          <a:noFill/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b="1">
                <a:solidFill>
                  <a:schemeClr val="tx1"/>
                </a:solidFill>
              </a:rPr>
              <a:t>Text </a:t>
            </a:r>
            <a:r>
              <a:rPr lang="en-US" sz="100" b="1">
                <a:solidFill>
                  <a:schemeClr val="tx1"/>
                </a:solidFill>
              </a:rPr>
              <a:t> </a:t>
            </a:r>
            <a:r>
              <a:rPr lang="en-US" b="1">
                <a:solidFill>
                  <a:schemeClr val="tx1"/>
                </a:solidFill>
              </a:rPr>
              <a:t>here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77064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1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śḻïdé">
            <a:extLst>
              <a:ext uri="{FF2B5EF4-FFF2-40B4-BE49-F238E27FC236}">
                <a16:creationId xmlns:a16="http://schemas.microsoft.com/office/drawing/2014/main" id="{2019298A-81F0-4D09-82BC-C9737FD2C8FC}"/>
              </a:ext>
            </a:extLst>
          </p:cNvPr>
          <p:cNvSpPr/>
          <p:nvPr/>
        </p:nvSpPr>
        <p:spPr>
          <a:xfrm>
            <a:off x="0" y="1130300"/>
            <a:ext cx="12192000" cy="2388753"/>
          </a:xfrm>
          <a:prstGeom prst="roundRect">
            <a:avLst>
              <a:gd name="adj" fmla="val 0"/>
            </a:avLst>
          </a:prstGeom>
          <a:blipFill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4" name="íṧlîḓé">
            <a:extLst>
              <a:ext uri="{FF2B5EF4-FFF2-40B4-BE49-F238E27FC236}">
                <a16:creationId xmlns:a16="http://schemas.microsoft.com/office/drawing/2014/main" id="{9558634D-75F4-4FD6-9DA5-68007C6BC636}"/>
              </a:ext>
            </a:extLst>
          </p:cNvPr>
          <p:cNvSpPr/>
          <p:nvPr/>
        </p:nvSpPr>
        <p:spPr>
          <a:xfrm>
            <a:off x="6308932" y="3173021"/>
            <a:ext cx="2156888" cy="653488"/>
          </a:xfrm>
          <a:prstGeom prst="roundRect">
            <a:avLst>
              <a:gd name="adj" fmla="val 23442"/>
            </a:avLst>
          </a:prstGeom>
          <a:solidFill>
            <a:schemeClr val="accent1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1600" b="1" dirty="0"/>
              <a:t>Tex</a:t>
            </a:r>
            <a:r>
              <a:rPr lang="en-US" altLang="zh-CN" sz="100" b="1" dirty="0"/>
              <a:t> </a:t>
            </a:r>
            <a:r>
              <a:rPr lang="en-US" altLang="zh-CN" sz="1600" b="1" dirty="0"/>
              <a:t>t here</a:t>
            </a:r>
            <a:endParaRPr lang="zh-CN" altLang="en-US" sz="1600" b="1" dirty="0"/>
          </a:p>
        </p:txBody>
      </p:sp>
      <p:sp>
        <p:nvSpPr>
          <p:cNvPr id="35" name="iṩľíḋè">
            <a:extLst>
              <a:ext uri="{FF2B5EF4-FFF2-40B4-BE49-F238E27FC236}">
                <a16:creationId xmlns:a16="http://schemas.microsoft.com/office/drawing/2014/main" id="{CF664B4F-C1AB-48A0-B424-19206B071CCF}"/>
              </a:ext>
            </a:extLst>
          </p:cNvPr>
          <p:cNvSpPr/>
          <p:nvPr/>
        </p:nvSpPr>
        <p:spPr>
          <a:xfrm>
            <a:off x="8893273" y="3175744"/>
            <a:ext cx="2156888" cy="653488"/>
          </a:xfrm>
          <a:prstGeom prst="roundRect">
            <a:avLst>
              <a:gd name="adj" fmla="val 23442"/>
            </a:avLst>
          </a:prstGeom>
          <a:solidFill>
            <a:srgbClr val="2276C6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1600" b="1" dirty="0"/>
              <a:t>Tex</a:t>
            </a:r>
            <a:r>
              <a:rPr lang="en-US" altLang="zh-CN" sz="100" b="1" dirty="0"/>
              <a:t> </a:t>
            </a:r>
            <a:r>
              <a:rPr lang="en-US" altLang="zh-CN" sz="1600" b="1" dirty="0"/>
              <a:t>t here</a:t>
            </a:r>
            <a:endParaRPr lang="zh-CN" altLang="en-US" sz="1600" b="1" dirty="0"/>
          </a:p>
        </p:txBody>
      </p:sp>
      <p:sp>
        <p:nvSpPr>
          <p:cNvPr id="33" name="iṡlíḍé">
            <a:extLst>
              <a:ext uri="{FF2B5EF4-FFF2-40B4-BE49-F238E27FC236}">
                <a16:creationId xmlns:a16="http://schemas.microsoft.com/office/drawing/2014/main" id="{E61E30E7-9A11-4903-BEA7-2698A4F84F42}"/>
              </a:ext>
            </a:extLst>
          </p:cNvPr>
          <p:cNvSpPr/>
          <p:nvPr/>
        </p:nvSpPr>
        <p:spPr>
          <a:xfrm>
            <a:off x="3724591" y="3170298"/>
            <a:ext cx="2156888" cy="653488"/>
          </a:xfrm>
          <a:prstGeom prst="roundRect">
            <a:avLst>
              <a:gd name="adj" fmla="val 23442"/>
            </a:avLst>
          </a:prstGeom>
          <a:solidFill>
            <a:srgbClr val="2276C6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1600" b="1" dirty="0"/>
              <a:t>Tex</a:t>
            </a:r>
            <a:r>
              <a:rPr lang="en-US" altLang="zh-CN" sz="100" b="1" dirty="0"/>
              <a:t> </a:t>
            </a:r>
            <a:r>
              <a:rPr lang="en-US" altLang="zh-CN" sz="1600" b="1" dirty="0"/>
              <a:t>t here</a:t>
            </a:r>
            <a:endParaRPr lang="zh-CN" altLang="en-US" sz="1600" b="1" dirty="0"/>
          </a:p>
        </p:txBody>
      </p:sp>
      <p:sp>
        <p:nvSpPr>
          <p:cNvPr id="2" name="îšḻíḋè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$lîḑê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şḷíḑé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cxnSp>
        <p:nvCxnSpPr>
          <p:cNvPr id="11" name="is1ïdé">
            <a:extLst>
              <a:ext uri="{FF2B5EF4-FFF2-40B4-BE49-F238E27FC236}">
                <a16:creationId xmlns:a16="http://schemas.microsoft.com/office/drawing/2014/main" id="{91A70B6A-E4B7-4559-9A21-505F440BEF55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6095204" y="3519053"/>
            <a:ext cx="796" cy="2608796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ïslîḍe">
            <a:extLst>
              <a:ext uri="{FF2B5EF4-FFF2-40B4-BE49-F238E27FC236}">
                <a16:creationId xmlns:a16="http://schemas.microsoft.com/office/drawing/2014/main" id="{02819921-0B84-4977-AD92-C8EC33A68823}"/>
              </a:ext>
            </a:extLst>
          </p:cNvPr>
          <p:cNvCxnSpPr>
            <a:cxnSpLocks/>
          </p:cNvCxnSpPr>
          <p:nvPr/>
        </p:nvCxnSpPr>
        <p:spPr>
          <a:xfrm>
            <a:off x="8686634" y="3519053"/>
            <a:ext cx="0" cy="2608796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ïṡḻiḋe">
            <a:extLst>
              <a:ext uri="{FF2B5EF4-FFF2-40B4-BE49-F238E27FC236}">
                <a16:creationId xmlns:a16="http://schemas.microsoft.com/office/drawing/2014/main" id="{20510D81-E206-4A84-93C3-C3C2B45A45ED}"/>
              </a:ext>
            </a:extLst>
          </p:cNvPr>
          <p:cNvSpPr/>
          <p:nvPr/>
        </p:nvSpPr>
        <p:spPr bwMode="auto">
          <a:xfrm>
            <a:off x="3625828" y="4037968"/>
            <a:ext cx="2347322" cy="9655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en-US" altLang="zh-CN" sz="1100" dirty="0"/>
              <a:t>Copy paste fonts. Choose the only option to retain text.</a:t>
            </a:r>
          </a:p>
          <a:p>
            <a:pPr algn="ctr"/>
            <a:r>
              <a:rPr lang="en-US" altLang="zh-CN" sz="1100" dirty="0"/>
              <a:t>……</a:t>
            </a:r>
          </a:p>
        </p:txBody>
      </p:sp>
      <p:sp>
        <p:nvSpPr>
          <p:cNvPr id="18" name="ïSľïḋè">
            <a:extLst>
              <a:ext uri="{FF2B5EF4-FFF2-40B4-BE49-F238E27FC236}">
                <a16:creationId xmlns:a16="http://schemas.microsoft.com/office/drawing/2014/main" id="{164B097D-2A70-41B9-92E4-91FC99CBDD9E}"/>
              </a:ext>
            </a:extLst>
          </p:cNvPr>
          <p:cNvSpPr/>
          <p:nvPr/>
        </p:nvSpPr>
        <p:spPr bwMode="auto">
          <a:xfrm>
            <a:off x="3625828" y="5066175"/>
            <a:ext cx="2347322" cy="9655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en-US" altLang="zh-CN" sz="1100" dirty="0"/>
              <a:t>Copy paste fonts. Choose the only option to retain text.</a:t>
            </a:r>
          </a:p>
          <a:p>
            <a:pPr algn="ctr"/>
            <a:r>
              <a:rPr lang="en-US" altLang="zh-CN" sz="1100" dirty="0"/>
              <a:t>……</a:t>
            </a:r>
          </a:p>
        </p:txBody>
      </p:sp>
      <p:sp>
        <p:nvSpPr>
          <p:cNvPr id="19" name="îṣḷîďe">
            <a:extLst>
              <a:ext uri="{FF2B5EF4-FFF2-40B4-BE49-F238E27FC236}">
                <a16:creationId xmlns:a16="http://schemas.microsoft.com/office/drawing/2014/main" id="{9D2F0B3F-A1E4-4773-9BEE-2306B550DDCE}"/>
              </a:ext>
            </a:extLst>
          </p:cNvPr>
          <p:cNvSpPr/>
          <p:nvPr/>
        </p:nvSpPr>
        <p:spPr bwMode="auto">
          <a:xfrm>
            <a:off x="6217258" y="4037968"/>
            <a:ext cx="2347322" cy="9655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en-US" altLang="zh-CN" sz="1100" dirty="0"/>
              <a:t>Copy paste fonts. Choose the only option to retain text.</a:t>
            </a:r>
          </a:p>
          <a:p>
            <a:pPr algn="ctr"/>
            <a:r>
              <a:rPr lang="en-US" altLang="zh-CN" sz="1100" dirty="0"/>
              <a:t>……</a:t>
            </a:r>
          </a:p>
        </p:txBody>
      </p:sp>
      <p:sp>
        <p:nvSpPr>
          <p:cNvPr id="20" name="îṥḻîḋè">
            <a:extLst>
              <a:ext uri="{FF2B5EF4-FFF2-40B4-BE49-F238E27FC236}">
                <a16:creationId xmlns:a16="http://schemas.microsoft.com/office/drawing/2014/main" id="{9B4D3361-381C-4D32-B908-120123E9E307}"/>
              </a:ext>
            </a:extLst>
          </p:cNvPr>
          <p:cNvSpPr/>
          <p:nvPr/>
        </p:nvSpPr>
        <p:spPr bwMode="auto">
          <a:xfrm>
            <a:off x="6217258" y="5066175"/>
            <a:ext cx="2347322" cy="9655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t.</a:t>
            </a:r>
          </a:p>
          <a:p>
            <a:pPr algn="ctr"/>
            <a:r>
              <a:rPr lang="en-US" altLang="zh-CN" sz="1100"/>
              <a:t>……</a:t>
            </a:r>
          </a:p>
        </p:txBody>
      </p:sp>
      <p:sp>
        <p:nvSpPr>
          <p:cNvPr id="21" name="îṧḻiḍe">
            <a:extLst>
              <a:ext uri="{FF2B5EF4-FFF2-40B4-BE49-F238E27FC236}">
                <a16:creationId xmlns:a16="http://schemas.microsoft.com/office/drawing/2014/main" id="{A6D06E51-85EE-4B44-AD36-5B98BBAD223B}"/>
              </a:ext>
            </a:extLst>
          </p:cNvPr>
          <p:cNvSpPr/>
          <p:nvPr/>
        </p:nvSpPr>
        <p:spPr bwMode="auto">
          <a:xfrm>
            <a:off x="8808688" y="4037968"/>
            <a:ext cx="2347322" cy="9655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en-US" altLang="zh-CN" sz="1100" dirty="0"/>
              <a:t>Copy paste fonts. Choose the only option to retain text.</a:t>
            </a:r>
          </a:p>
          <a:p>
            <a:pPr algn="ctr"/>
            <a:r>
              <a:rPr lang="en-US" altLang="zh-CN" sz="1100" dirty="0"/>
              <a:t>……</a:t>
            </a:r>
          </a:p>
        </p:txBody>
      </p:sp>
      <p:sp>
        <p:nvSpPr>
          <p:cNvPr id="22" name="iŝḻïḓè">
            <a:extLst>
              <a:ext uri="{FF2B5EF4-FFF2-40B4-BE49-F238E27FC236}">
                <a16:creationId xmlns:a16="http://schemas.microsoft.com/office/drawing/2014/main" id="{9EBDA41C-3452-4B05-BE7B-875F8627B011}"/>
              </a:ext>
            </a:extLst>
          </p:cNvPr>
          <p:cNvSpPr/>
          <p:nvPr/>
        </p:nvSpPr>
        <p:spPr bwMode="auto">
          <a:xfrm>
            <a:off x="8808688" y="5066175"/>
            <a:ext cx="2347322" cy="9655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t.</a:t>
            </a:r>
          </a:p>
          <a:p>
            <a:pPr algn="ctr"/>
            <a:r>
              <a:rPr lang="en-US" altLang="zh-CN" sz="1100"/>
              <a:t>……</a:t>
            </a:r>
          </a:p>
        </p:txBody>
      </p:sp>
      <p:cxnSp>
        <p:nvCxnSpPr>
          <p:cNvPr id="25" name="iṡļíḑè">
            <a:extLst>
              <a:ext uri="{FF2B5EF4-FFF2-40B4-BE49-F238E27FC236}">
                <a16:creationId xmlns:a16="http://schemas.microsoft.com/office/drawing/2014/main" id="{5E48C672-0162-44C1-AAF8-9D4A00E8FB83}"/>
              </a:ext>
            </a:extLst>
          </p:cNvPr>
          <p:cNvCxnSpPr>
            <a:cxnSpLocks/>
          </p:cNvCxnSpPr>
          <p:nvPr/>
        </p:nvCxnSpPr>
        <p:spPr>
          <a:xfrm>
            <a:off x="3503774" y="3519053"/>
            <a:ext cx="0" cy="2608796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i$ḻîḍè">
            <a:extLst>
              <a:ext uri="{FF2B5EF4-FFF2-40B4-BE49-F238E27FC236}">
                <a16:creationId xmlns:a16="http://schemas.microsoft.com/office/drawing/2014/main" id="{E0DB91F5-62EF-44A3-A657-BCD48A943187}"/>
              </a:ext>
            </a:extLst>
          </p:cNvPr>
          <p:cNvSpPr/>
          <p:nvPr/>
        </p:nvSpPr>
        <p:spPr bwMode="auto">
          <a:xfrm>
            <a:off x="1034398" y="4037968"/>
            <a:ext cx="2347322" cy="9655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en-US" altLang="zh-CN" sz="1100" dirty="0"/>
              <a:t>Copy paste fonts. Choose the only option to retain text.</a:t>
            </a:r>
          </a:p>
          <a:p>
            <a:pPr algn="ctr"/>
            <a:r>
              <a:rPr lang="en-US" altLang="zh-CN" sz="1100" dirty="0"/>
              <a:t>……</a:t>
            </a:r>
          </a:p>
        </p:txBody>
      </p:sp>
      <p:sp>
        <p:nvSpPr>
          <p:cNvPr id="27" name="ïṩ1ïdê">
            <a:extLst>
              <a:ext uri="{FF2B5EF4-FFF2-40B4-BE49-F238E27FC236}">
                <a16:creationId xmlns:a16="http://schemas.microsoft.com/office/drawing/2014/main" id="{38D3C51C-C4E5-4F74-AB86-03330C32131A}"/>
              </a:ext>
            </a:extLst>
          </p:cNvPr>
          <p:cNvSpPr/>
          <p:nvPr/>
        </p:nvSpPr>
        <p:spPr bwMode="auto">
          <a:xfrm>
            <a:off x="1034398" y="5066175"/>
            <a:ext cx="2347322" cy="9655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t.</a:t>
            </a:r>
          </a:p>
          <a:p>
            <a:pPr algn="ctr"/>
            <a:r>
              <a:rPr lang="en-US" altLang="zh-CN" sz="1100"/>
              <a:t>……</a:t>
            </a:r>
          </a:p>
        </p:txBody>
      </p:sp>
      <p:sp>
        <p:nvSpPr>
          <p:cNvPr id="32" name="íślîḍé">
            <a:extLst>
              <a:ext uri="{FF2B5EF4-FFF2-40B4-BE49-F238E27FC236}">
                <a16:creationId xmlns:a16="http://schemas.microsoft.com/office/drawing/2014/main" id="{69D194F3-E491-410A-A478-06DF0BCC94D8}"/>
              </a:ext>
            </a:extLst>
          </p:cNvPr>
          <p:cNvSpPr/>
          <p:nvPr/>
        </p:nvSpPr>
        <p:spPr>
          <a:xfrm>
            <a:off x="1140250" y="3166670"/>
            <a:ext cx="2156888" cy="653488"/>
          </a:xfrm>
          <a:prstGeom prst="roundRect">
            <a:avLst>
              <a:gd name="adj" fmla="val 23442"/>
            </a:avLst>
          </a:prstGeom>
          <a:solidFill>
            <a:schemeClr val="accent1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1600" b="1" dirty="0"/>
              <a:t>Tex</a:t>
            </a:r>
            <a:r>
              <a:rPr lang="en-US" altLang="zh-CN" sz="100" b="1" dirty="0"/>
              <a:t> </a:t>
            </a:r>
            <a:r>
              <a:rPr lang="en-US" altLang="zh-CN" sz="1600" b="1" dirty="0"/>
              <a:t>t here</a:t>
            </a:r>
            <a:endParaRPr lang="zh-CN" altLang="en-US" sz="16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26628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ḷi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îṥḻîḑé">
            <a:extLst>
              <a:ext uri="{FF2B5EF4-FFF2-40B4-BE49-F238E27FC236}">
                <a16:creationId xmlns:a16="http://schemas.microsoft.com/office/drawing/2014/main" id="{D951078C-046C-4D14-93BB-1C91992A47FF}"/>
              </a:ext>
            </a:extLst>
          </p:cNvPr>
          <p:cNvSpPr/>
          <p:nvPr/>
        </p:nvSpPr>
        <p:spPr>
          <a:xfrm>
            <a:off x="2273130" y="2775956"/>
            <a:ext cx="7644150" cy="2951744"/>
          </a:xfrm>
          <a:custGeom>
            <a:avLst/>
            <a:gdLst>
              <a:gd name="connsiteX0" fmla="*/ 3822075 w 7644150"/>
              <a:gd name="connsiteY0" fmla="*/ 0 h 2951744"/>
              <a:gd name="connsiteX1" fmla="*/ 7599811 w 7644150"/>
              <a:gd name="connsiteY1" fmla="*/ 2779305 h 2951744"/>
              <a:gd name="connsiteX2" fmla="*/ 7644150 w 7644150"/>
              <a:gd name="connsiteY2" fmla="*/ 2951744 h 2951744"/>
              <a:gd name="connsiteX3" fmla="*/ 7547775 w 7644150"/>
              <a:gd name="connsiteY3" fmla="*/ 2951744 h 2951744"/>
              <a:gd name="connsiteX4" fmla="*/ 7510581 w 7644150"/>
              <a:gd name="connsiteY4" fmla="*/ 2807089 h 2951744"/>
              <a:gd name="connsiteX5" fmla="*/ 3822075 w 7644150"/>
              <a:gd name="connsiteY5" fmla="*/ 93431 h 2951744"/>
              <a:gd name="connsiteX6" fmla="*/ 133570 w 7644150"/>
              <a:gd name="connsiteY6" fmla="*/ 2807089 h 2951744"/>
              <a:gd name="connsiteX7" fmla="*/ 96375 w 7644150"/>
              <a:gd name="connsiteY7" fmla="*/ 2951744 h 2951744"/>
              <a:gd name="connsiteX8" fmla="*/ 0 w 7644150"/>
              <a:gd name="connsiteY8" fmla="*/ 2951744 h 2951744"/>
              <a:gd name="connsiteX9" fmla="*/ 44339 w 7644150"/>
              <a:gd name="connsiteY9" fmla="*/ 2779305 h 2951744"/>
              <a:gd name="connsiteX10" fmla="*/ 3822075 w 7644150"/>
              <a:gd name="connsiteY10" fmla="*/ 0 h 295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44150" h="2951744">
                <a:moveTo>
                  <a:pt x="3822075" y="0"/>
                </a:moveTo>
                <a:cubicBezTo>
                  <a:pt x="5597064" y="0"/>
                  <a:pt x="7098991" y="1169117"/>
                  <a:pt x="7599811" y="2779305"/>
                </a:cubicBezTo>
                <a:lnTo>
                  <a:pt x="7644150" y="2951744"/>
                </a:lnTo>
                <a:lnTo>
                  <a:pt x="7547775" y="2951744"/>
                </a:lnTo>
                <a:lnTo>
                  <a:pt x="7510581" y="2807089"/>
                </a:lnTo>
                <a:cubicBezTo>
                  <a:pt x="7021590" y="1234933"/>
                  <a:pt x="5555139" y="93431"/>
                  <a:pt x="3822075" y="93431"/>
                </a:cubicBezTo>
                <a:cubicBezTo>
                  <a:pt x="2089012" y="93431"/>
                  <a:pt x="622561" y="1234933"/>
                  <a:pt x="133570" y="2807089"/>
                </a:cubicBezTo>
                <a:lnTo>
                  <a:pt x="96375" y="2951744"/>
                </a:lnTo>
                <a:lnTo>
                  <a:pt x="0" y="2951744"/>
                </a:lnTo>
                <a:lnTo>
                  <a:pt x="44339" y="2779305"/>
                </a:lnTo>
                <a:cubicBezTo>
                  <a:pt x="545159" y="1169117"/>
                  <a:pt x="2047086" y="0"/>
                  <a:pt x="38220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î$ḻíḍê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$ľíḋê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$ḷiḑè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7" name="iṩḻidê">
            <a:extLst>
              <a:ext uri="{FF2B5EF4-FFF2-40B4-BE49-F238E27FC236}">
                <a16:creationId xmlns:a16="http://schemas.microsoft.com/office/drawing/2014/main" id="{7C1BF1D2-6F07-434D-9A36-896D8A1F555A}"/>
              </a:ext>
            </a:extLst>
          </p:cNvPr>
          <p:cNvSpPr/>
          <p:nvPr/>
        </p:nvSpPr>
        <p:spPr>
          <a:xfrm>
            <a:off x="663575" y="1130300"/>
            <a:ext cx="10858500" cy="1404303"/>
          </a:xfrm>
          <a:prstGeom prst="rect">
            <a:avLst/>
          </a:prstGeom>
          <a:solidFill>
            <a:schemeClr val="bg1">
              <a:alpha val="70000"/>
            </a:schemeClr>
          </a:solidFill>
          <a:ln w="38100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" name="ïSļíďê">
            <a:extLst>
              <a:ext uri="{FF2B5EF4-FFF2-40B4-BE49-F238E27FC236}">
                <a16:creationId xmlns:a16="http://schemas.microsoft.com/office/drawing/2014/main" id="{DFBEBE7D-6360-4D01-972A-CA13FE43AF1F}"/>
              </a:ext>
            </a:extLst>
          </p:cNvPr>
          <p:cNvSpPr/>
          <p:nvPr/>
        </p:nvSpPr>
        <p:spPr>
          <a:xfrm>
            <a:off x="2563738" y="4214880"/>
            <a:ext cx="521294" cy="521294"/>
          </a:xfrm>
          <a:prstGeom prst="ellipse">
            <a:avLst/>
          </a:prstGeom>
          <a:solidFill>
            <a:schemeClr val="accent1"/>
          </a:solidFill>
          <a:ln w="28575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51" name="îṡḻîḍê">
            <a:extLst>
              <a:ext uri="{FF2B5EF4-FFF2-40B4-BE49-F238E27FC236}">
                <a16:creationId xmlns:a16="http://schemas.microsoft.com/office/drawing/2014/main" id="{0C6C3CDC-0161-4E4E-AE70-FC6F535C5694}"/>
              </a:ext>
            </a:extLst>
          </p:cNvPr>
          <p:cNvSpPr/>
          <p:nvPr/>
        </p:nvSpPr>
        <p:spPr>
          <a:xfrm>
            <a:off x="2705909" y="4380050"/>
            <a:ext cx="236952" cy="190955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bg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7" name="ïSḻide">
            <a:extLst>
              <a:ext uri="{FF2B5EF4-FFF2-40B4-BE49-F238E27FC236}">
                <a16:creationId xmlns:a16="http://schemas.microsoft.com/office/drawing/2014/main" id="{B1560FC2-2EE7-4571-86A9-11F58E8AA57E}"/>
              </a:ext>
            </a:extLst>
          </p:cNvPr>
          <p:cNvSpPr txBox="1"/>
          <p:nvPr/>
        </p:nvSpPr>
        <p:spPr>
          <a:xfrm>
            <a:off x="660400" y="3979004"/>
            <a:ext cx="1627197" cy="42182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ext here</a:t>
            </a:r>
          </a:p>
        </p:txBody>
      </p:sp>
      <p:sp>
        <p:nvSpPr>
          <p:cNvPr id="38" name="iSļïdè">
            <a:extLst>
              <a:ext uri="{FF2B5EF4-FFF2-40B4-BE49-F238E27FC236}">
                <a16:creationId xmlns:a16="http://schemas.microsoft.com/office/drawing/2014/main" id="{3D4347FE-5DAE-4906-AA53-29413DA77C89}"/>
              </a:ext>
            </a:extLst>
          </p:cNvPr>
          <p:cNvSpPr txBox="1"/>
          <p:nvPr/>
        </p:nvSpPr>
        <p:spPr>
          <a:xfrm>
            <a:off x="660400" y="4400825"/>
            <a:ext cx="1627197" cy="5712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35" name="îṥ1îḍe">
            <a:extLst>
              <a:ext uri="{FF2B5EF4-FFF2-40B4-BE49-F238E27FC236}">
                <a16:creationId xmlns:a16="http://schemas.microsoft.com/office/drawing/2014/main" id="{34BFD258-28CF-4181-9B2B-4F99BA7A7546}"/>
              </a:ext>
            </a:extLst>
          </p:cNvPr>
          <p:cNvSpPr/>
          <p:nvPr/>
        </p:nvSpPr>
        <p:spPr>
          <a:xfrm>
            <a:off x="3862698" y="3049165"/>
            <a:ext cx="521294" cy="521294"/>
          </a:xfrm>
          <a:prstGeom prst="ellipse">
            <a:avLst/>
          </a:prstGeom>
          <a:solidFill>
            <a:schemeClr val="accent2"/>
          </a:solidFill>
          <a:ln w="28575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8" name="îṩ1iḑè">
            <a:extLst>
              <a:ext uri="{FF2B5EF4-FFF2-40B4-BE49-F238E27FC236}">
                <a16:creationId xmlns:a16="http://schemas.microsoft.com/office/drawing/2014/main" id="{77475679-9B61-49F6-9CC6-5766BF6B2A56}"/>
              </a:ext>
            </a:extLst>
          </p:cNvPr>
          <p:cNvSpPr/>
          <p:nvPr/>
        </p:nvSpPr>
        <p:spPr>
          <a:xfrm>
            <a:off x="4026501" y="3191335"/>
            <a:ext cx="193688" cy="236952"/>
          </a:xfrm>
          <a:custGeom>
            <a:avLst/>
            <a:gdLst>
              <a:gd name="T0" fmla="*/ 119 w 184"/>
              <a:gd name="T1" fmla="*/ 0 h 224"/>
              <a:gd name="T2" fmla="*/ 120 w 184"/>
              <a:gd name="T3" fmla="*/ 0 h 224"/>
              <a:gd name="T4" fmla="*/ 120 w 184"/>
              <a:gd name="T5" fmla="*/ 52 h 224"/>
              <a:gd name="T6" fmla="*/ 120 w 184"/>
              <a:gd name="T7" fmla="*/ 53 h 224"/>
              <a:gd name="T8" fmla="*/ 132 w 184"/>
              <a:gd name="T9" fmla="*/ 64 h 224"/>
              <a:gd name="T10" fmla="*/ 184 w 184"/>
              <a:gd name="T11" fmla="*/ 64 h 224"/>
              <a:gd name="T12" fmla="*/ 184 w 184"/>
              <a:gd name="T13" fmla="*/ 65 h 224"/>
              <a:gd name="T14" fmla="*/ 184 w 184"/>
              <a:gd name="T15" fmla="*/ 212 h 224"/>
              <a:gd name="T16" fmla="*/ 172 w 184"/>
              <a:gd name="T17" fmla="*/ 224 h 224"/>
              <a:gd name="T18" fmla="*/ 12 w 184"/>
              <a:gd name="T19" fmla="*/ 224 h 224"/>
              <a:gd name="T20" fmla="*/ 0 w 184"/>
              <a:gd name="T21" fmla="*/ 212 h 224"/>
              <a:gd name="T22" fmla="*/ 0 w 184"/>
              <a:gd name="T23" fmla="*/ 12 h 224"/>
              <a:gd name="T24" fmla="*/ 12 w 184"/>
              <a:gd name="T25" fmla="*/ 0 h 224"/>
              <a:gd name="T26" fmla="*/ 119 w 184"/>
              <a:gd name="T27" fmla="*/ 0 h 224"/>
              <a:gd name="T28" fmla="*/ 104 w 184"/>
              <a:gd name="T29" fmla="*/ 84 h 224"/>
              <a:gd name="T30" fmla="*/ 64 w 184"/>
              <a:gd name="T31" fmla="*/ 84 h 224"/>
              <a:gd name="T32" fmla="*/ 64 w 184"/>
              <a:gd name="T33" fmla="*/ 172 h 224"/>
              <a:gd name="T34" fmla="*/ 72 w 184"/>
              <a:gd name="T35" fmla="*/ 172 h 224"/>
              <a:gd name="T36" fmla="*/ 72 w 184"/>
              <a:gd name="T37" fmla="*/ 132 h 224"/>
              <a:gd name="T38" fmla="*/ 104 w 184"/>
              <a:gd name="T39" fmla="*/ 132 h 224"/>
              <a:gd name="T40" fmla="*/ 105 w 184"/>
              <a:gd name="T41" fmla="*/ 132 h 224"/>
              <a:gd name="T42" fmla="*/ 128 w 184"/>
              <a:gd name="T43" fmla="*/ 108 h 224"/>
              <a:gd name="T44" fmla="*/ 104 w 184"/>
              <a:gd name="T45" fmla="*/ 84 h 224"/>
              <a:gd name="T46" fmla="*/ 104 w 184"/>
              <a:gd name="T47" fmla="*/ 92 h 224"/>
              <a:gd name="T48" fmla="*/ 120 w 184"/>
              <a:gd name="T49" fmla="*/ 108 h 224"/>
              <a:gd name="T50" fmla="*/ 104 w 184"/>
              <a:gd name="T51" fmla="*/ 124 h 224"/>
              <a:gd name="T52" fmla="*/ 72 w 184"/>
              <a:gd name="T53" fmla="*/ 124 h 224"/>
              <a:gd name="T54" fmla="*/ 72 w 184"/>
              <a:gd name="T55" fmla="*/ 92 h 224"/>
              <a:gd name="T56" fmla="*/ 104 w 184"/>
              <a:gd name="T57" fmla="*/ 92 h 224"/>
              <a:gd name="T58" fmla="*/ 180 w 184"/>
              <a:gd name="T59" fmla="*/ 56 h 224"/>
              <a:gd name="T60" fmla="*/ 132 w 184"/>
              <a:gd name="T61" fmla="*/ 56 h 224"/>
              <a:gd name="T62" fmla="*/ 132 w 184"/>
              <a:gd name="T63" fmla="*/ 56 h 224"/>
              <a:gd name="T64" fmla="*/ 128 w 184"/>
              <a:gd name="T65" fmla="*/ 52 h 224"/>
              <a:gd name="T66" fmla="*/ 128 w 184"/>
              <a:gd name="T67" fmla="*/ 4 h 224"/>
              <a:gd name="T68" fmla="*/ 180 w 184"/>
              <a:gd name="T69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4" h="224">
                <a:moveTo>
                  <a:pt x="119" y="0"/>
                </a:moveTo>
                <a:cubicBezTo>
                  <a:pt x="120" y="0"/>
                  <a:pt x="120" y="0"/>
                  <a:pt x="120" y="0"/>
                </a:cubicBezTo>
                <a:cubicBezTo>
                  <a:pt x="120" y="52"/>
                  <a:pt x="120" y="52"/>
                  <a:pt x="120" y="52"/>
                </a:cubicBezTo>
                <a:cubicBezTo>
                  <a:pt x="120" y="53"/>
                  <a:pt x="120" y="53"/>
                  <a:pt x="120" y="53"/>
                </a:cubicBezTo>
                <a:cubicBezTo>
                  <a:pt x="120" y="59"/>
                  <a:pt x="126" y="64"/>
                  <a:pt x="132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65"/>
                  <a:pt x="184" y="65"/>
                  <a:pt x="184" y="65"/>
                </a:cubicBezTo>
                <a:cubicBezTo>
                  <a:pt x="184" y="212"/>
                  <a:pt x="184" y="212"/>
                  <a:pt x="184" y="212"/>
                </a:cubicBezTo>
                <a:cubicBezTo>
                  <a:pt x="184" y="219"/>
                  <a:pt x="179" y="224"/>
                  <a:pt x="172" y="224"/>
                </a:cubicBezTo>
                <a:cubicBezTo>
                  <a:pt x="12" y="224"/>
                  <a:pt x="12" y="224"/>
                  <a:pt x="12" y="224"/>
                </a:cubicBezTo>
                <a:cubicBezTo>
                  <a:pt x="5" y="224"/>
                  <a:pt x="0" y="219"/>
                  <a:pt x="0" y="2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119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32" y="56"/>
                  <a:pt x="132" y="56"/>
                  <a:pt x="132" y="56"/>
                </a:cubicBezTo>
                <a:cubicBezTo>
                  <a:pt x="132" y="56"/>
                  <a:pt x="132" y="56"/>
                  <a:pt x="132" y="56"/>
                </a:cubicBezTo>
                <a:cubicBezTo>
                  <a:pt x="130" y="56"/>
                  <a:pt x="128" y="54"/>
                  <a:pt x="128" y="52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bg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3" name="íşlîďê">
            <a:extLst>
              <a:ext uri="{FF2B5EF4-FFF2-40B4-BE49-F238E27FC236}">
                <a16:creationId xmlns:a16="http://schemas.microsoft.com/office/drawing/2014/main" id="{85D3FE55-170C-46DF-B8EA-433718173598}"/>
              </a:ext>
            </a:extLst>
          </p:cNvPr>
          <p:cNvSpPr txBox="1"/>
          <p:nvPr/>
        </p:nvSpPr>
        <p:spPr>
          <a:xfrm>
            <a:off x="1959360" y="2733121"/>
            <a:ext cx="1627197" cy="42182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ext here</a:t>
            </a:r>
          </a:p>
        </p:txBody>
      </p:sp>
      <p:sp>
        <p:nvSpPr>
          <p:cNvPr id="34" name="ïṥḻïḋè">
            <a:extLst>
              <a:ext uri="{FF2B5EF4-FFF2-40B4-BE49-F238E27FC236}">
                <a16:creationId xmlns:a16="http://schemas.microsoft.com/office/drawing/2014/main" id="{F75D989F-0639-4D22-8444-995C4A11E43A}"/>
              </a:ext>
            </a:extLst>
          </p:cNvPr>
          <p:cNvSpPr txBox="1"/>
          <p:nvPr/>
        </p:nvSpPr>
        <p:spPr>
          <a:xfrm>
            <a:off x="1959360" y="3154942"/>
            <a:ext cx="1627197" cy="5712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31" name="íšľîde">
            <a:extLst>
              <a:ext uri="{FF2B5EF4-FFF2-40B4-BE49-F238E27FC236}">
                <a16:creationId xmlns:a16="http://schemas.microsoft.com/office/drawing/2014/main" id="{C8FADD58-8A80-43D9-B8C0-B92158876938}"/>
              </a:ext>
            </a:extLst>
          </p:cNvPr>
          <p:cNvSpPr/>
          <p:nvPr/>
        </p:nvSpPr>
        <p:spPr>
          <a:xfrm>
            <a:off x="5829003" y="2544754"/>
            <a:ext cx="521294" cy="521294"/>
          </a:xfrm>
          <a:prstGeom prst="ellipse">
            <a:avLst/>
          </a:prstGeom>
          <a:solidFill>
            <a:schemeClr val="accent1"/>
          </a:solidFill>
          <a:ln w="28575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2" name="íşḻiḓè">
            <a:extLst>
              <a:ext uri="{FF2B5EF4-FFF2-40B4-BE49-F238E27FC236}">
                <a16:creationId xmlns:a16="http://schemas.microsoft.com/office/drawing/2014/main" id="{55EA3400-A764-4355-82A1-C19974044ADF}"/>
              </a:ext>
            </a:extLst>
          </p:cNvPr>
          <p:cNvSpPr/>
          <p:nvPr/>
        </p:nvSpPr>
        <p:spPr>
          <a:xfrm>
            <a:off x="5971174" y="2688264"/>
            <a:ext cx="236952" cy="234274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bg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9" name="ïšḻïďê">
            <a:extLst>
              <a:ext uri="{FF2B5EF4-FFF2-40B4-BE49-F238E27FC236}">
                <a16:creationId xmlns:a16="http://schemas.microsoft.com/office/drawing/2014/main" id="{DE8D3648-A91E-4266-B017-9D82CB15045D}"/>
              </a:ext>
            </a:extLst>
          </p:cNvPr>
          <p:cNvSpPr txBox="1"/>
          <p:nvPr/>
        </p:nvSpPr>
        <p:spPr>
          <a:xfrm>
            <a:off x="4271147" y="1512982"/>
            <a:ext cx="3637006" cy="42182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3765">
              <a:buSzPct val="25000"/>
              <a:defRPr/>
            </a:pPr>
            <a:r>
              <a:rPr lang="en-US" altLang="zh-CN" sz="1400" b="1" dirty="0"/>
              <a:t>Text here</a:t>
            </a:r>
            <a:endParaRPr lang="id-ID" sz="1400" b="1" dirty="0"/>
          </a:p>
        </p:txBody>
      </p:sp>
      <p:sp>
        <p:nvSpPr>
          <p:cNvPr id="30" name="îŝľîḓe">
            <a:extLst>
              <a:ext uri="{FF2B5EF4-FFF2-40B4-BE49-F238E27FC236}">
                <a16:creationId xmlns:a16="http://schemas.microsoft.com/office/drawing/2014/main" id="{D4BB5CD7-12D9-489E-98B5-A082714593C9}"/>
              </a:ext>
            </a:extLst>
          </p:cNvPr>
          <p:cNvSpPr/>
          <p:nvPr/>
        </p:nvSpPr>
        <p:spPr bwMode="auto">
          <a:xfrm>
            <a:off x="4271147" y="1934803"/>
            <a:ext cx="3637006" cy="56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7" name="ïṥ1îďé">
            <a:extLst>
              <a:ext uri="{FF2B5EF4-FFF2-40B4-BE49-F238E27FC236}">
                <a16:creationId xmlns:a16="http://schemas.microsoft.com/office/drawing/2014/main" id="{5641F175-3C51-4D31-8C83-25B381AC5018}"/>
              </a:ext>
            </a:extLst>
          </p:cNvPr>
          <p:cNvSpPr/>
          <p:nvPr/>
        </p:nvSpPr>
        <p:spPr>
          <a:xfrm>
            <a:off x="9094268" y="4214880"/>
            <a:ext cx="521294" cy="521294"/>
          </a:xfrm>
          <a:prstGeom prst="ellipse">
            <a:avLst/>
          </a:prstGeom>
          <a:solidFill>
            <a:schemeClr val="accent1"/>
          </a:solidFill>
          <a:ln w="28575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0" name="îšlîdé">
            <a:extLst>
              <a:ext uri="{FF2B5EF4-FFF2-40B4-BE49-F238E27FC236}">
                <a16:creationId xmlns:a16="http://schemas.microsoft.com/office/drawing/2014/main" id="{EDA72C99-F01F-4205-A140-FDDC6AE25F7D}"/>
              </a:ext>
            </a:extLst>
          </p:cNvPr>
          <p:cNvSpPr/>
          <p:nvPr/>
        </p:nvSpPr>
        <p:spPr>
          <a:xfrm>
            <a:off x="9236439" y="4376346"/>
            <a:ext cx="236952" cy="198362"/>
          </a:xfrm>
          <a:custGeom>
            <a:avLst/>
            <a:gdLst>
              <a:gd name="T0" fmla="*/ 203 w 222"/>
              <a:gd name="T1" fmla="*/ 56 h 184"/>
              <a:gd name="T2" fmla="*/ 222 w 222"/>
              <a:gd name="T3" fmla="*/ 75 h 184"/>
              <a:gd name="T4" fmla="*/ 221 w 222"/>
              <a:gd name="T5" fmla="*/ 76 h 184"/>
              <a:gd name="T6" fmla="*/ 216 w 222"/>
              <a:gd name="T7" fmla="*/ 149 h 184"/>
              <a:gd name="T8" fmla="*/ 204 w 222"/>
              <a:gd name="T9" fmla="*/ 160 h 184"/>
              <a:gd name="T10" fmla="*/ 191 w 222"/>
              <a:gd name="T11" fmla="*/ 160 h 184"/>
              <a:gd name="T12" fmla="*/ 191 w 222"/>
              <a:gd name="T13" fmla="*/ 184 h 184"/>
              <a:gd name="T14" fmla="*/ 183 w 222"/>
              <a:gd name="T15" fmla="*/ 184 h 184"/>
              <a:gd name="T16" fmla="*/ 183 w 222"/>
              <a:gd name="T17" fmla="*/ 160 h 184"/>
              <a:gd name="T18" fmla="*/ 39 w 222"/>
              <a:gd name="T19" fmla="*/ 160 h 184"/>
              <a:gd name="T20" fmla="*/ 39 w 222"/>
              <a:gd name="T21" fmla="*/ 184 h 184"/>
              <a:gd name="T22" fmla="*/ 31 w 222"/>
              <a:gd name="T23" fmla="*/ 184 h 184"/>
              <a:gd name="T24" fmla="*/ 31 w 222"/>
              <a:gd name="T25" fmla="*/ 160 h 184"/>
              <a:gd name="T26" fmla="*/ 18 w 222"/>
              <a:gd name="T27" fmla="*/ 160 h 184"/>
              <a:gd name="T28" fmla="*/ 6 w 222"/>
              <a:gd name="T29" fmla="*/ 149 h 184"/>
              <a:gd name="T30" fmla="*/ 1 w 222"/>
              <a:gd name="T31" fmla="*/ 76 h 184"/>
              <a:gd name="T32" fmla="*/ 18 w 222"/>
              <a:gd name="T33" fmla="*/ 56 h 184"/>
              <a:gd name="T34" fmla="*/ 19 w 222"/>
              <a:gd name="T35" fmla="*/ 56 h 184"/>
              <a:gd name="T36" fmla="*/ 43 w 222"/>
              <a:gd name="T37" fmla="*/ 76 h 184"/>
              <a:gd name="T38" fmla="*/ 51 w 222"/>
              <a:gd name="T39" fmla="*/ 120 h 184"/>
              <a:gd name="T40" fmla="*/ 171 w 222"/>
              <a:gd name="T41" fmla="*/ 120 h 184"/>
              <a:gd name="T42" fmla="*/ 179 w 222"/>
              <a:gd name="T43" fmla="*/ 76 h 184"/>
              <a:gd name="T44" fmla="*/ 203 w 222"/>
              <a:gd name="T45" fmla="*/ 56 h 184"/>
              <a:gd name="T46" fmla="*/ 175 w 222"/>
              <a:gd name="T47" fmla="*/ 0 h 184"/>
              <a:gd name="T48" fmla="*/ 203 w 222"/>
              <a:gd name="T49" fmla="*/ 28 h 184"/>
              <a:gd name="T50" fmla="*/ 203 w 222"/>
              <a:gd name="T51" fmla="*/ 48 h 184"/>
              <a:gd name="T52" fmla="*/ 200 w 222"/>
              <a:gd name="T53" fmla="*/ 48 h 184"/>
              <a:gd name="T54" fmla="*/ 173 w 222"/>
              <a:gd name="T55" fmla="*/ 70 h 184"/>
              <a:gd name="T56" fmla="*/ 173 w 222"/>
              <a:gd name="T57" fmla="*/ 71 h 184"/>
              <a:gd name="T58" fmla="*/ 165 w 222"/>
              <a:gd name="T59" fmla="*/ 112 h 184"/>
              <a:gd name="T60" fmla="*/ 57 w 222"/>
              <a:gd name="T61" fmla="*/ 112 h 184"/>
              <a:gd name="T62" fmla="*/ 49 w 222"/>
              <a:gd name="T63" fmla="*/ 71 h 184"/>
              <a:gd name="T64" fmla="*/ 22 w 222"/>
              <a:gd name="T65" fmla="*/ 48 h 184"/>
              <a:gd name="T66" fmla="*/ 23 w 222"/>
              <a:gd name="T67" fmla="*/ 28 h 184"/>
              <a:gd name="T68" fmla="*/ 51 w 222"/>
              <a:gd name="T69" fmla="*/ 0 h 184"/>
              <a:gd name="T70" fmla="*/ 175 w 222"/>
              <a:gd name="T71" fmla="*/ 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2" h="184">
                <a:moveTo>
                  <a:pt x="203" y="56"/>
                </a:moveTo>
                <a:cubicBezTo>
                  <a:pt x="213" y="56"/>
                  <a:pt x="222" y="64"/>
                  <a:pt x="222" y="75"/>
                </a:cubicBezTo>
                <a:cubicBezTo>
                  <a:pt x="222" y="75"/>
                  <a:pt x="222" y="75"/>
                  <a:pt x="221" y="76"/>
                </a:cubicBezTo>
                <a:cubicBezTo>
                  <a:pt x="216" y="149"/>
                  <a:pt x="216" y="149"/>
                  <a:pt x="216" y="149"/>
                </a:cubicBezTo>
                <a:cubicBezTo>
                  <a:pt x="215" y="155"/>
                  <a:pt x="210" y="160"/>
                  <a:pt x="204" y="160"/>
                </a:cubicBezTo>
                <a:cubicBezTo>
                  <a:pt x="191" y="160"/>
                  <a:pt x="191" y="160"/>
                  <a:pt x="191" y="160"/>
                </a:cubicBezTo>
                <a:cubicBezTo>
                  <a:pt x="191" y="184"/>
                  <a:pt x="191" y="184"/>
                  <a:pt x="191" y="184"/>
                </a:cubicBezTo>
                <a:cubicBezTo>
                  <a:pt x="183" y="184"/>
                  <a:pt x="183" y="184"/>
                  <a:pt x="183" y="184"/>
                </a:cubicBezTo>
                <a:cubicBezTo>
                  <a:pt x="183" y="160"/>
                  <a:pt x="183" y="160"/>
                  <a:pt x="183" y="160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39" y="184"/>
                  <a:pt x="39" y="184"/>
                  <a:pt x="39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31" y="160"/>
                  <a:pt x="31" y="160"/>
                  <a:pt x="31" y="160"/>
                </a:cubicBezTo>
                <a:cubicBezTo>
                  <a:pt x="18" y="160"/>
                  <a:pt x="18" y="160"/>
                  <a:pt x="18" y="160"/>
                </a:cubicBezTo>
                <a:cubicBezTo>
                  <a:pt x="12" y="160"/>
                  <a:pt x="7" y="155"/>
                  <a:pt x="6" y="149"/>
                </a:cubicBezTo>
                <a:cubicBezTo>
                  <a:pt x="1" y="76"/>
                  <a:pt x="1" y="76"/>
                  <a:pt x="1" y="76"/>
                </a:cubicBezTo>
                <a:cubicBezTo>
                  <a:pt x="0" y="66"/>
                  <a:pt x="7" y="57"/>
                  <a:pt x="18" y="56"/>
                </a:cubicBezTo>
                <a:cubicBezTo>
                  <a:pt x="18" y="56"/>
                  <a:pt x="19" y="56"/>
                  <a:pt x="19" y="56"/>
                </a:cubicBezTo>
                <a:cubicBezTo>
                  <a:pt x="31" y="56"/>
                  <a:pt x="41" y="64"/>
                  <a:pt x="43" y="76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171" y="120"/>
                  <a:pt x="171" y="120"/>
                  <a:pt x="171" y="120"/>
                </a:cubicBezTo>
                <a:cubicBezTo>
                  <a:pt x="179" y="76"/>
                  <a:pt x="179" y="76"/>
                  <a:pt x="179" y="76"/>
                </a:cubicBezTo>
                <a:cubicBezTo>
                  <a:pt x="181" y="64"/>
                  <a:pt x="191" y="56"/>
                  <a:pt x="203" y="56"/>
                </a:cubicBezTo>
                <a:close/>
                <a:moveTo>
                  <a:pt x="175" y="0"/>
                </a:moveTo>
                <a:cubicBezTo>
                  <a:pt x="190" y="0"/>
                  <a:pt x="203" y="13"/>
                  <a:pt x="203" y="28"/>
                </a:cubicBezTo>
                <a:cubicBezTo>
                  <a:pt x="203" y="48"/>
                  <a:pt x="203" y="48"/>
                  <a:pt x="203" y="48"/>
                </a:cubicBezTo>
                <a:cubicBezTo>
                  <a:pt x="202" y="48"/>
                  <a:pt x="201" y="48"/>
                  <a:pt x="200" y="48"/>
                </a:cubicBezTo>
                <a:cubicBezTo>
                  <a:pt x="187" y="48"/>
                  <a:pt x="176" y="57"/>
                  <a:pt x="173" y="70"/>
                </a:cubicBezTo>
                <a:cubicBezTo>
                  <a:pt x="173" y="71"/>
                  <a:pt x="173" y="71"/>
                  <a:pt x="173" y="71"/>
                </a:cubicBezTo>
                <a:cubicBezTo>
                  <a:pt x="165" y="112"/>
                  <a:pt x="165" y="112"/>
                  <a:pt x="165" y="112"/>
                </a:cubicBezTo>
                <a:cubicBezTo>
                  <a:pt x="57" y="112"/>
                  <a:pt x="57" y="112"/>
                  <a:pt x="57" y="112"/>
                </a:cubicBezTo>
                <a:cubicBezTo>
                  <a:pt x="49" y="71"/>
                  <a:pt x="49" y="71"/>
                  <a:pt x="49" y="71"/>
                </a:cubicBezTo>
                <a:cubicBezTo>
                  <a:pt x="47" y="57"/>
                  <a:pt x="35" y="48"/>
                  <a:pt x="22" y="48"/>
                </a:cubicBezTo>
                <a:cubicBezTo>
                  <a:pt x="23" y="28"/>
                  <a:pt x="23" y="28"/>
                  <a:pt x="23" y="28"/>
                </a:cubicBezTo>
                <a:cubicBezTo>
                  <a:pt x="23" y="13"/>
                  <a:pt x="36" y="0"/>
                  <a:pt x="51" y="0"/>
                </a:cubicBezTo>
                <a:lnTo>
                  <a:pt x="175" y="0"/>
                </a:lnTo>
                <a:close/>
              </a:path>
            </a:pathLst>
          </a:custGeom>
          <a:solidFill>
            <a:schemeClr val="bg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5" name="îšľïḓé">
            <a:extLst>
              <a:ext uri="{FF2B5EF4-FFF2-40B4-BE49-F238E27FC236}">
                <a16:creationId xmlns:a16="http://schemas.microsoft.com/office/drawing/2014/main" id="{BF2CE615-FB32-4739-B6ED-1BFF4AE3E2E9}"/>
              </a:ext>
            </a:extLst>
          </p:cNvPr>
          <p:cNvSpPr txBox="1"/>
          <p:nvPr/>
        </p:nvSpPr>
        <p:spPr>
          <a:xfrm>
            <a:off x="9891703" y="3979004"/>
            <a:ext cx="1627197" cy="42182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ext here</a:t>
            </a:r>
          </a:p>
        </p:txBody>
      </p:sp>
      <p:sp>
        <p:nvSpPr>
          <p:cNvPr id="26" name="íṡlïḓê">
            <a:extLst>
              <a:ext uri="{FF2B5EF4-FFF2-40B4-BE49-F238E27FC236}">
                <a16:creationId xmlns:a16="http://schemas.microsoft.com/office/drawing/2014/main" id="{3A77D23C-51BB-44F6-95EB-5951DA4B4255}"/>
              </a:ext>
            </a:extLst>
          </p:cNvPr>
          <p:cNvSpPr txBox="1"/>
          <p:nvPr/>
        </p:nvSpPr>
        <p:spPr>
          <a:xfrm>
            <a:off x="9891703" y="4400825"/>
            <a:ext cx="1627197" cy="5712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23" name="ïSļïdé">
            <a:extLst>
              <a:ext uri="{FF2B5EF4-FFF2-40B4-BE49-F238E27FC236}">
                <a16:creationId xmlns:a16="http://schemas.microsoft.com/office/drawing/2014/main" id="{E0E35816-0B7A-49F2-BF5C-F1553D8AC374}"/>
              </a:ext>
            </a:extLst>
          </p:cNvPr>
          <p:cNvSpPr/>
          <p:nvPr/>
        </p:nvSpPr>
        <p:spPr>
          <a:xfrm>
            <a:off x="7795308" y="3047885"/>
            <a:ext cx="521294" cy="521294"/>
          </a:xfrm>
          <a:prstGeom prst="ellipse">
            <a:avLst/>
          </a:prstGeom>
          <a:solidFill>
            <a:schemeClr val="accent2"/>
          </a:solidFill>
          <a:ln w="28575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1" name="ïṧliḓè">
            <a:extLst>
              <a:ext uri="{FF2B5EF4-FFF2-40B4-BE49-F238E27FC236}">
                <a16:creationId xmlns:a16="http://schemas.microsoft.com/office/drawing/2014/main" id="{B94E34FC-B63A-4017-9D78-A47FC0DDFA92}"/>
              </a:ext>
            </a:extLst>
          </p:cNvPr>
          <p:cNvSpPr txBox="1"/>
          <p:nvPr/>
        </p:nvSpPr>
        <p:spPr>
          <a:xfrm>
            <a:off x="8592743" y="2733121"/>
            <a:ext cx="1627197" cy="42182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ext here</a:t>
            </a:r>
          </a:p>
        </p:txBody>
      </p:sp>
      <p:sp>
        <p:nvSpPr>
          <p:cNvPr id="36" name="ïŝ1íḍê">
            <a:extLst>
              <a:ext uri="{FF2B5EF4-FFF2-40B4-BE49-F238E27FC236}">
                <a16:creationId xmlns:a16="http://schemas.microsoft.com/office/drawing/2014/main" id="{EA1AAA53-B8AE-4C5E-A3D0-A66DA99461CA}"/>
              </a:ext>
            </a:extLst>
          </p:cNvPr>
          <p:cNvSpPr/>
          <p:nvPr/>
        </p:nvSpPr>
        <p:spPr>
          <a:xfrm>
            <a:off x="7948903" y="3190051"/>
            <a:ext cx="214105" cy="236952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bg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2" name="iśḷíḋe">
            <a:extLst>
              <a:ext uri="{FF2B5EF4-FFF2-40B4-BE49-F238E27FC236}">
                <a16:creationId xmlns:a16="http://schemas.microsoft.com/office/drawing/2014/main" id="{697228B5-0E0E-4A2B-B32D-DB79878E5A4B}"/>
              </a:ext>
            </a:extLst>
          </p:cNvPr>
          <p:cNvSpPr txBox="1"/>
          <p:nvPr/>
        </p:nvSpPr>
        <p:spPr>
          <a:xfrm>
            <a:off x="8592743" y="3154942"/>
            <a:ext cx="1627197" cy="5712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20" name="îŝ1ïḋè">
            <a:extLst>
              <a:ext uri="{FF2B5EF4-FFF2-40B4-BE49-F238E27FC236}">
                <a16:creationId xmlns:a16="http://schemas.microsoft.com/office/drawing/2014/main" id="{44475FDF-54A4-4ED5-8CD7-E8930216A30D}"/>
              </a:ext>
            </a:extLst>
          </p:cNvPr>
          <p:cNvSpPr txBox="1"/>
          <p:nvPr/>
        </p:nvSpPr>
        <p:spPr>
          <a:xfrm>
            <a:off x="3646739" y="3842842"/>
            <a:ext cx="4885821" cy="102280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buSzPct val="25000"/>
            </a:pPr>
            <a:r>
              <a:rPr lang="en-US" altLang="zh-CN" sz="1200" dirty="0"/>
              <a:t>Theme color makes PPT more convenient to change.Adjust the spacing to adapt to Chinese typesetting, use the reference line in PPT.</a:t>
            </a:r>
          </a:p>
          <a:p>
            <a:pPr algn="ctr">
              <a:lnSpc>
                <a:spcPct val="150000"/>
              </a:lnSpc>
              <a:buSzPct val="25000"/>
            </a:pPr>
            <a:r>
              <a:rPr lang="en-US" altLang="zh-CN" sz="1200" dirty="0"/>
              <a:t>……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52558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ŝḷîḑè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ṥlïde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S1íḑè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34" name="iṥḷîḍè">
            <a:extLst>
              <a:ext uri="{FF2B5EF4-FFF2-40B4-BE49-F238E27FC236}">
                <a16:creationId xmlns:a16="http://schemas.microsoft.com/office/drawing/2014/main" id="{8AA02F77-D464-4953-AA1F-F366D020BF1B}"/>
              </a:ext>
            </a:extLst>
          </p:cNvPr>
          <p:cNvGrpSpPr/>
          <p:nvPr/>
        </p:nvGrpSpPr>
        <p:grpSpPr>
          <a:xfrm>
            <a:off x="839203" y="1960318"/>
            <a:ext cx="10513518" cy="3307223"/>
            <a:chOff x="839203" y="1960318"/>
            <a:chExt cx="10513518" cy="3307223"/>
          </a:xfrm>
        </p:grpSpPr>
        <p:grpSp>
          <p:nvGrpSpPr>
            <p:cNvPr id="35" name="îSļïḋé">
              <a:extLst>
                <a:ext uri="{FF2B5EF4-FFF2-40B4-BE49-F238E27FC236}">
                  <a16:creationId xmlns:a16="http://schemas.microsoft.com/office/drawing/2014/main" id="{D5207402-2F87-4480-83FF-405021326C44}"/>
                </a:ext>
              </a:extLst>
            </p:cNvPr>
            <p:cNvGrpSpPr/>
            <p:nvPr/>
          </p:nvGrpSpPr>
          <p:grpSpPr>
            <a:xfrm>
              <a:off x="4480923" y="2023473"/>
              <a:ext cx="3217454" cy="3217454"/>
              <a:chOff x="4590635" y="2133185"/>
              <a:chExt cx="2998030" cy="2998030"/>
            </a:xfrm>
          </p:grpSpPr>
          <p:sp>
            <p:nvSpPr>
              <p:cNvPr id="61" name="îšḻíḋé">
                <a:extLst>
                  <a:ext uri="{FF2B5EF4-FFF2-40B4-BE49-F238E27FC236}">
                    <a16:creationId xmlns:a16="http://schemas.microsoft.com/office/drawing/2014/main" id="{CC4FD8AB-5817-4A3A-9B3D-D643A7C3A8A5}"/>
                  </a:ext>
                </a:extLst>
              </p:cNvPr>
              <p:cNvSpPr/>
              <p:nvPr/>
            </p:nvSpPr>
            <p:spPr>
              <a:xfrm>
                <a:off x="4590635" y="2133185"/>
                <a:ext cx="2998030" cy="2998030"/>
              </a:xfrm>
              <a:prstGeom prst="ellipse">
                <a:avLst/>
              </a:prstGeom>
              <a:blipFill>
                <a:blip r:embed="rId4" cstate="screen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25400">
                <a:noFill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62" name="iṩḷíďé">
                <a:extLst>
                  <a:ext uri="{FF2B5EF4-FFF2-40B4-BE49-F238E27FC236}">
                    <a16:creationId xmlns:a16="http://schemas.microsoft.com/office/drawing/2014/main" id="{CF00E4DE-DDCC-4CED-8C86-B5C2D03EC5F1}"/>
                  </a:ext>
                </a:extLst>
              </p:cNvPr>
              <p:cNvSpPr/>
              <p:nvPr/>
            </p:nvSpPr>
            <p:spPr>
              <a:xfrm>
                <a:off x="5479900" y="3022450"/>
                <a:ext cx="1219500" cy="1219500"/>
              </a:xfrm>
              <a:prstGeom prst="ellipse">
                <a:avLst/>
              </a:prstGeom>
              <a:solidFill>
                <a:schemeClr val="bg1"/>
              </a:solidFill>
              <a:ln w="38100">
                <a:noFill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1440" tIns="45720" rIns="91440" bIns="4572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r>
                  <a:rPr lang="en-US" altLang="zh-CN" sz="2000" b="1" dirty="0">
                    <a:solidFill>
                      <a:schemeClr val="accent1"/>
                    </a:solidFill>
                  </a:rPr>
                  <a:t>…Text</a:t>
                </a:r>
              </a:p>
            </p:txBody>
          </p:sp>
        </p:grpSp>
        <p:sp>
          <p:nvSpPr>
            <p:cNvPr id="36" name="ïṥḷïḍe">
              <a:extLst>
                <a:ext uri="{FF2B5EF4-FFF2-40B4-BE49-F238E27FC236}">
                  <a16:creationId xmlns:a16="http://schemas.microsoft.com/office/drawing/2014/main" id="{5C29D88C-339B-4D6C-AB30-9CE85098C390}"/>
                </a:ext>
              </a:extLst>
            </p:cNvPr>
            <p:cNvSpPr/>
            <p:nvPr/>
          </p:nvSpPr>
          <p:spPr>
            <a:xfrm>
              <a:off x="4442386" y="1960318"/>
              <a:ext cx="3307229" cy="3307223"/>
            </a:xfrm>
            <a:prstGeom prst="donut">
              <a:avLst>
                <a:gd name="adj" fmla="val 1899"/>
              </a:avLst>
            </a:prstGeom>
            <a:solidFill>
              <a:schemeClr val="bg1">
                <a:lumMod val="9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37" name="íṥļíďe">
              <a:extLst>
                <a:ext uri="{FF2B5EF4-FFF2-40B4-BE49-F238E27FC236}">
                  <a16:creationId xmlns:a16="http://schemas.microsoft.com/office/drawing/2014/main" id="{948B6BA4-ED25-4DAF-AC17-089BB7804C8E}"/>
                </a:ext>
              </a:extLst>
            </p:cNvPr>
            <p:cNvGrpSpPr/>
            <p:nvPr/>
          </p:nvGrpSpPr>
          <p:grpSpPr>
            <a:xfrm>
              <a:off x="4542416" y="2232266"/>
              <a:ext cx="671878" cy="671876"/>
              <a:chOff x="1711594" y="2493391"/>
              <a:chExt cx="506338" cy="506336"/>
            </a:xfrm>
          </p:grpSpPr>
          <p:sp>
            <p:nvSpPr>
              <p:cNvPr id="59" name="iṥľíḋè">
                <a:extLst>
                  <a:ext uri="{FF2B5EF4-FFF2-40B4-BE49-F238E27FC236}">
                    <a16:creationId xmlns:a16="http://schemas.microsoft.com/office/drawing/2014/main" id="{436DE6AD-835A-4658-8163-8DED085DC82B}"/>
                  </a:ext>
                </a:extLst>
              </p:cNvPr>
              <p:cNvSpPr/>
              <p:nvPr/>
            </p:nvSpPr>
            <p:spPr bwMode="auto">
              <a:xfrm>
                <a:off x="1711594" y="2493391"/>
                <a:ext cx="506338" cy="506336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60" name="îṥlîḋe">
                <a:extLst>
                  <a:ext uri="{FF2B5EF4-FFF2-40B4-BE49-F238E27FC236}">
                    <a16:creationId xmlns:a16="http://schemas.microsoft.com/office/drawing/2014/main" id="{794832D1-C2EE-42DD-A776-FE5BD6002449}"/>
                  </a:ext>
                </a:extLst>
              </p:cNvPr>
              <p:cNvSpPr/>
              <p:nvPr/>
            </p:nvSpPr>
            <p:spPr bwMode="auto">
              <a:xfrm>
                <a:off x="1846362" y="2615523"/>
                <a:ext cx="236802" cy="262071"/>
              </a:xfrm>
              <a:custGeom>
                <a:avLst/>
                <a:gdLst>
                  <a:gd name="T0" fmla="*/ 104 w 208"/>
                  <a:gd name="T1" fmla="*/ 0 h 228"/>
                  <a:gd name="T2" fmla="*/ 208 w 208"/>
                  <a:gd name="T3" fmla="*/ 104 h 228"/>
                  <a:gd name="T4" fmla="*/ 136 w 208"/>
                  <a:gd name="T5" fmla="*/ 203 h 228"/>
                  <a:gd name="T6" fmla="*/ 145 w 208"/>
                  <a:gd name="T7" fmla="*/ 220 h 228"/>
                  <a:gd name="T8" fmla="*/ 176 w 208"/>
                  <a:gd name="T9" fmla="*/ 220 h 228"/>
                  <a:gd name="T10" fmla="*/ 176 w 208"/>
                  <a:gd name="T11" fmla="*/ 228 h 228"/>
                  <a:gd name="T12" fmla="*/ 32 w 208"/>
                  <a:gd name="T13" fmla="*/ 228 h 228"/>
                  <a:gd name="T14" fmla="*/ 32 w 208"/>
                  <a:gd name="T15" fmla="*/ 220 h 228"/>
                  <a:gd name="T16" fmla="*/ 63 w 208"/>
                  <a:gd name="T17" fmla="*/ 220 h 228"/>
                  <a:gd name="T18" fmla="*/ 72 w 208"/>
                  <a:gd name="T19" fmla="*/ 203 h 228"/>
                  <a:gd name="T20" fmla="*/ 0 w 208"/>
                  <a:gd name="T21" fmla="*/ 104 h 228"/>
                  <a:gd name="T22" fmla="*/ 104 w 208"/>
                  <a:gd name="T23" fmla="*/ 0 h 228"/>
                  <a:gd name="T24" fmla="*/ 80 w 208"/>
                  <a:gd name="T25" fmla="*/ 205 h 228"/>
                  <a:gd name="T26" fmla="*/ 72 w 208"/>
                  <a:gd name="T27" fmla="*/ 220 h 228"/>
                  <a:gd name="T28" fmla="*/ 136 w 208"/>
                  <a:gd name="T29" fmla="*/ 220 h 228"/>
                  <a:gd name="T30" fmla="*/ 128 w 208"/>
                  <a:gd name="T31" fmla="*/ 205 h 228"/>
                  <a:gd name="T32" fmla="*/ 104 w 208"/>
                  <a:gd name="T33" fmla="*/ 208 h 228"/>
                  <a:gd name="T34" fmla="*/ 80 w 208"/>
                  <a:gd name="T35" fmla="*/ 205 h 228"/>
                  <a:gd name="T36" fmla="*/ 104 w 208"/>
                  <a:gd name="T37" fmla="*/ 60 h 228"/>
                  <a:gd name="T38" fmla="*/ 60 w 208"/>
                  <a:gd name="T39" fmla="*/ 104 h 228"/>
                  <a:gd name="T40" fmla="*/ 104 w 208"/>
                  <a:gd name="T41" fmla="*/ 148 h 228"/>
                  <a:gd name="T42" fmla="*/ 148 w 208"/>
                  <a:gd name="T43" fmla="*/ 104 h 228"/>
                  <a:gd name="T44" fmla="*/ 104 w 208"/>
                  <a:gd name="T45" fmla="*/ 60 h 228"/>
                  <a:gd name="T46" fmla="*/ 154 w 208"/>
                  <a:gd name="T47" fmla="*/ 48 h 228"/>
                  <a:gd name="T48" fmla="*/ 148 w 208"/>
                  <a:gd name="T49" fmla="*/ 54 h 228"/>
                  <a:gd name="T50" fmla="*/ 154 w 208"/>
                  <a:gd name="T51" fmla="*/ 60 h 228"/>
                  <a:gd name="T52" fmla="*/ 160 w 208"/>
                  <a:gd name="T53" fmla="*/ 54 h 228"/>
                  <a:gd name="T54" fmla="*/ 154 w 208"/>
                  <a:gd name="T55" fmla="*/ 4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8" h="228">
                    <a:moveTo>
                      <a:pt x="104" y="0"/>
                    </a:moveTo>
                    <a:cubicBezTo>
                      <a:pt x="161" y="0"/>
                      <a:pt x="208" y="47"/>
                      <a:pt x="208" y="104"/>
                    </a:cubicBezTo>
                    <a:cubicBezTo>
                      <a:pt x="208" y="150"/>
                      <a:pt x="178" y="190"/>
                      <a:pt x="136" y="203"/>
                    </a:cubicBezTo>
                    <a:cubicBezTo>
                      <a:pt x="145" y="220"/>
                      <a:pt x="145" y="220"/>
                      <a:pt x="145" y="220"/>
                    </a:cubicBezTo>
                    <a:cubicBezTo>
                      <a:pt x="176" y="220"/>
                      <a:pt x="176" y="220"/>
                      <a:pt x="176" y="220"/>
                    </a:cubicBezTo>
                    <a:cubicBezTo>
                      <a:pt x="176" y="228"/>
                      <a:pt x="176" y="228"/>
                      <a:pt x="176" y="228"/>
                    </a:cubicBezTo>
                    <a:cubicBezTo>
                      <a:pt x="32" y="228"/>
                      <a:pt x="32" y="228"/>
                      <a:pt x="32" y="228"/>
                    </a:cubicBezTo>
                    <a:cubicBezTo>
                      <a:pt x="32" y="220"/>
                      <a:pt x="32" y="220"/>
                      <a:pt x="32" y="220"/>
                    </a:cubicBezTo>
                    <a:cubicBezTo>
                      <a:pt x="63" y="220"/>
                      <a:pt x="63" y="220"/>
                      <a:pt x="63" y="220"/>
                    </a:cubicBezTo>
                    <a:cubicBezTo>
                      <a:pt x="72" y="203"/>
                      <a:pt x="72" y="203"/>
                      <a:pt x="72" y="203"/>
                    </a:cubicBezTo>
                    <a:cubicBezTo>
                      <a:pt x="30" y="190"/>
                      <a:pt x="0" y="150"/>
                      <a:pt x="0" y="104"/>
                    </a:cubicBezTo>
                    <a:cubicBezTo>
                      <a:pt x="0" y="47"/>
                      <a:pt x="47" y="0"/>
                      <a:pt x="104" y="0"/>
                    </a:cubicBezTo>
                    <a:close/>
                    <a:moveTo>
                      <a:pt x="80" y="205"/>
                    </a:moveTo>
                    <a:cubicBezTo>
                      <a:pt x="72" y="220"/>
                      <a:pt x="72" y="220"/>
                      <a:pt x="72" y="220"/>
                    </a:cubicBezTo>
                    <a:cubicBezTo>
                      <a:pt x="136" y="220"/>
                      <a:pt x="136" y="220"/>
                      <a:pt x="136" y="220"/>
                    </a:cubicBezTo>
                    <a:cubicBezTo>
                      <a:pt x="128" y="205"/>
                      <a:pt x="128" y="205"/>
                      <a:pt x="128" y="205"/>
                    </a:cubicBezTo>
                    <a:cubicBezTo>
                      <a:pt x="120" y="207"/>
                      <a:pt x="112" y="208"/>
                      <a:pt x="104" y="208"/>
                    </a:cubicBezTo>
                    <a:cubicBezTo>
                      <a:pt x="96" y="208"/>
                      <a:pt x="88" y="207"/>
                      <a:pt x="80" y="205"/>
                    </a:cubicBezTo>
                    <a:close/>
                    <a:moveTo>
                      <a:pt x="104" y="60"/>
                    </a:moveTo>
                    <a:cubicBezTo>
                      <a:pt x="80" y="60"/>
                      <a:pt x="60" y="80"/>
                      <a:pt x="60" y="104"/>
                    </a:cubicBezTo>
                    <a:cubicBezTo>
                      <a:pt x="60" y="128"/>
                      <a:pt x="80" y="148"/>
                      <a:pt x="104" y="148"/>
                    </a:cubicBezTo>
                    <a:cubicBezTo>
                      <a:pt x="128" y="148"/>
                      <a:pt x="148" y="128"/>
                      <a:pt x="148" y="104"/>
                    </a:cubicBezTo>
                    <a:cubicBezTo>
                      <a:pt x="148" y="80"/>
                      <a:pt x="128" y="60"/>
                      <a:pt x="104" y="60"/>
                    </a:cubicBezTo>
                    <a:close/>
                    <a:moveTo>
                      <a:pt x="154" y="48"/>
                    </a:moveTo>
                    <a:cubicBezTo>
                      <a:pt x="151" y="48"/>
                      <a:pt x="148" y="51"/>
                      <a:pt x="148" y="54"/>
                    </a:cubicBezTo>
                    <a:cubicBezTo>
                      <a:pt x="148" y="57"/>
                      <a:pt x="151" y="60"/>
                      <a:pt x="154" y="60"/>
                    </a:cubicBezTo>
                    <a:cubicBezTo>
                      <a:pt x="157" y="60"/>
                      <a:pt x="160" y="57"/>
                      <a:pt x="160" y="54"/>
                    </a:cubicBezTo>
                    <a:cubicBezTo>
                      <a:pt x="160" y="51"/>
                      <a:pt x="157" y="48"/>
                      <a:pt x="154" y="4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38" name="i$ḷíḋe">
              <a:extLst>
                <a:ext uri="{FF2B5EF4-FFF2-40B4-BE49-F238E27FC236}">
                  <a16:creationId xmlns:a16="http://schemas.microsoft.com/office/drawing/2014/main" id="{A3C8074B-57A0-423A-9220-89353C83398F}"/>
                </a:ext>
              </a:extLst>
            </p:cNvPr>
            <p:cNvGrpSpPr/>
            <p:nvPr/>
          </p:nvGrpSpPr>
          <p:grpSpPr>
            <a:xfrm>
              <a:off x="4542416" y="4107090"/>
              <a:ext cx="671878" cy="671876"/>
              <a:chOff x="1711594" y="2493391"/>
              <a:chExt cx="506338" cy="506336"/>
            </a:xfrm>
          </p:grpSpPr>
          <p:sp>
            <p:nvSpPr>
              <p:cNvPr id="57" name="îṧļiḑê">
                <a:extLst>
                  <a:ext uri="{FF2B5EF4-FFF2-40B4-BE49-F238E27FC236}">
                    <a16:creationId xmlns:a16="http://schemas.microsoft.com/office/drawing/2014/main" id="{ECEAA481-DC80-4F39-9889-E20DF718600A}"/>
                  </a:ext>
                </a:extLst>
              </p:cNvPr>
              <p:cNvSpPr/>
              <p:nvPr/>
            </p:nvSpPr>
            <p:spPr bwMode="auto">
              <a:xfrm>
                <a:off x="1711594" y="2493391"/>
                <a:ext cx="506338" cy="506336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58" name="îṥļíḑé">
                <a:extLst>
                  <a:ext uri="{FF2B5EF4-FFF2-40B4-BE49-F238E27FC236}">
                    <a16:creationId xmlns:a16="http://schemas.microsoft.com/office/drawing/2014/main" id="{C3DD2AF8-FC71-4087-85DC-FC0DC2B4E138}"/>
                  </a:ext>
                </a:extLst>
              </p:cNvPr>
              <p:cNvSpPr/>
              <p:nvPr/>
            </p:nvSpPr>
            <p:spPr bwMode="auto">
              <a:xfrm>
                <a:off x="1838802" y="2631836"/>
                <a:ext cx="251922" cy="229445"/>
              </a:xfrm>
              <a:custGeom>
                <a:avLst/>
                <a:gdLst>
                  <a:gd name="T0" fmla="*/ 52 w 224"/>
                  <a:gd name="T1" fmla="*/ 96 h 204"/>
                  <a:gd name="T2" fmla="*/ 52 w 224"/>
                  <a:gd name="T3" fmla="*/ 116 h 204"/>
                  <a:gd name="T4" fmla="*/ 60 w 224"/>
                  <a:gd name="T5" fmla="*/ 116 h 204"/>
                  <a:gd name="T6" fmla="*/ 60 w 224"/>
                  <a:gd name="T7" fmla="*/ 96 h 204"/>
                  <a:gd name="T8" fmla="*/ 164 w 224"/>
                  <a:gd name="T9" fmla="*/ 96 h 204"/>
                  <a:gd name="T10" fmla="*/ 164 w 224"/>
                  <a:gd name="T11" fmla="*/ 116 h 204"/>
                  <a:gd name="T12" fmla="*/ 172 w 224"/>
                  <a:gd name="T13" fmla="*/ 116 h 204"/>
                  <a:gd name="T14" fmla="*/ 172 w 224"/>
                  <a:gd name="T15" fmla="*/ 96 h 204"/>
                  <a:gd name="T16" fmla="*/ 224 w 224"/>
                  <a:gd name="T17" fmla="*/ 96 h 204"/>
                  <a:gd name="T18" fmla="*/ 224 w 224"/>
                  <a:gd name="T19" fmla="*/ 192 h 204"/>
                  <a:gd name="T20" fmla="*/ 212 w 224"/>
                  <a:gd name="T21" fmla="*/ 204 h 204"/>
                  <a:gd name="T22" fmla="*/ 12 w 224"/>
                  <a:gd name="T23" fmla="*/ 204 h 204"/>
                  <a:gd name="T24" fmla="*/ 0 w 224"/>
                  <a:gd name="T25" fmla="*/ 192 h 204"/>
                  <a:gd name="T26" fmla="*/ 0 w 224"/>
                  <a:gd name="T27" fmla="*/ 96 h 204"/>
                  <a:gd name="T28" fmla="*/ 52 w 224"/>
                  <a:gd name="T29" fmla="*/ 96 h 204"/>
                  <a:gd name="T30" fmla="*/ 156 w 224"/>
                  <a:gd name="T31" fmla="*/ 0 h 204"/>
                  <a:gd name="T32" fmla="*/ 172 w 224"/>
                  <a:gd name="T33" fmla="*/ 15 h 204"/>
                  <a:gd name="T34" fmla="*/ 172 w 224"/>
                  <a:gd name="T35" fmla="*/ 16 h 204"/>
                  <a:gd name="T36" fmla="*/ 172 w 224"/>
                  <a:gd name="T37" fmla="*/ 48 h 204"/>
                  <a:gd name="T38" fmla="*/ 212 w 224"/>
                  <a:gd name="T39" fmla="*/ 48 h 204"/>
                  <a:gd name="T40" fmla="*/ 224 w 224"/>
                  <a:gd name="T41" fmla="*/ 60 h 204"/>
                  <a:gd name="T42" fmla="*/ 224 w 224"/>
                  <a:gd name="T43" fmla="*/ 88 h 204"/>
                  <a:gd name="T44" fmla="*/ 0 w 224"/>
                  <a:gd name="T45" fmla="*/ 88 h 204"/>
                  <a:gd name="T46" fmla="*/ 0 w 224"/>
                  <a:gd name="T47" fmla="*/ 60 h 204"/>
                  <a:gd name="T48" fmla="*/ 12 w 224"/>
                  <a:gd name="T49" fmla="*/ 48 h 204"/>
                  <a:gd name="T50" fmla="*/ 52 w 224"/>
                  <a:gd name="T51" fmla="*/ 48 h 204"/>
                  <a:gd name="T52" fmla="*/ 52 w 224"/>
                  <a:gd name="T53" fmla="*/ 16 h 204"/>
                  <a:gd name="T54" fmla="*/ 67 w 224"/>
                  <a:gd name="T55" fmla="*/ 0 h 204"/>
                  <a:gd name="T56" fmla="*/ 68 w 224"/>
                  <a:gd name="T57" fmla="*/ 0 h 204"/>
                  <a:gd name="T58" fmla="*/ 156 w 224"/>
                  <a:gd name="T59" fmla="*/ 0 h 204"/>
                  <a:gd name="T60" fmla="*/ 156 w 224"/>
                  <a:gd name="T61" fmla="*/ 8 h 204"/>
                  <a:gd name="T62" fmla="*/ 68 w 224"/>
                  <a:gd name="T63" fmla="*/ 8 h 204"/>
                  <a:gd name="T64" fmla="*/ 60 w 224"/>
                  <a:gd name="T65" fmla="*/ 15 h 204"/>
                  <a:gd name="T66" fmla="*/ 60 w 224"/>
                  <a:gd name="T67" fmla="*/ 16 h 204"/>
                  <a:gd name="T68" fmla="*/ 60 w 224"/>
                  <a:gd name="T69" fmla="*/ 48 h 204"/>
                  <a:gd name="T70" fmla="*/ 164 w 224"/>
                  <a:gd name="T71" fmla="*/ 48 h 204"/>
                  <a:gd name="T72" fmla="*/ 164 w 224"/>
                  <a:gd name="T73" fmla="*/ 16 h 204"/>
                  <a:gd name="T74" fmla="*/ 157 w 224"/>
                  <a:gd name="T75" fmla="*/ 8 h 204"/>
                  <a:gd name="T76" fmla="*/ 157 w 224"/>
                  <a:gd name="T77" fmla="*/ 8 h 204"/>
                  <a:gd name="T78" fmla="*/ 156 w 224"/>
                  <a:gd name="T79" fmla="*/ 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24" h="204">
                    <a:moveTo>
                      <a:pt x="52" y="96"/>
                    </a:moveTo>
                    <a:cubicBezTo>
                      <a:pt x="52" y="116"/>
                      <a:pt x="52" y="116"/>
                      <a:pt x="52" y="116"/>
                    </a:cubicBezTo>
                    <a:cubicBezTo>
                      <a:pt x="60" y="116"/>
                      <a:pt x="60" y="116"/>
                      <a:pt x="60" y="116"/>
                    </a:cubicBezTo>
                    <a:cubicBezTo>
                      <a:pt x="60" y="96"/>
                      <a:pt x="60" y="96"/>
                      <a:pt x="60" y="96"/>
                    </a:cubicBezTo>
                    <a:cubicBezTo>
                      <a:pt x="164" y="96"/>
                      <a:pt x="164" y="96"/>
                      <a:pt x="164" y="96"/>
                    </a:cubicBezTo>
                    <a:cubicBezTo>
                      <a:pt x="164" y="116"/>
                      <a:pt x="164" y="116"/>
                      <a:pt x="164" y="116"/>
                    </a:cubicBezTo>
                    <a:cubicBezTo>
                      <a:pt x="172" y="116"/>
                      <a:pt x="172" y="116"/>
                      <a:pt x="172" y="116"/>
                    </a:cubicBezTo>
                    <a:cubicBezTo>
                      <a:pt x="172" y="96"/>
                      <a:pt x="172" y="96"/>
                      <a:pt x="172" y="96"/>
                    </a:cubicBezTo>
                    <a:cubicBezTo>
                      <a:pt x="224" y="96"/>
                      <a:pt x="224" y="96"/>
                      <a:pt x="224" y="96"/>
                    </a:cubicBezTo>
                    <a:cubicBezTo>
                      <a:pt x="224" y="192"/>
                      <a:pt x="224" y="192"/>
                      <a:pt x="224" y="192"/>
                    </a:cubicBezTo>
                    <a:cubicBezTo>
                      <a:pt x="224" y="199"/>
                      <a:pt x="219" y="204"/>
                      <a:pt x="212" y="204"/>
                    </a:cubicBezTo>
                    <a:cubicBezTo>
                      <a:pt x="12" y="204"/>
                      <a:pt x="12" y="204"/>
                      <a:pt x="12" y="204"/>
                    </a:cubicBezTo>
                    <a:cubicBezTo>
                      <a:pt x="5" y="204"/>
                      <a:pt x="0" y="199"/>
                      <a:pt x="0" y="192"/>
                    </a:cubicBezTo>
                    <a:cubicBezTo>
                      <a:pt x="0" y="96"/>
                      <a:pt x="0" y="96"/>
                      <a:pt x="0" y="96"/>
                    </a:cubicBezTo>
                    <a:lnTo>
                      <a:pt x="52" y="96"/>
                    </a:lnTo>
                    <a:close/>
                    <a:moveTo>
                      <a:pt x="156" y="0"/>
                    </a:moveTo>
                    <a:cubicBezTo>
                      <a:pt x="165" y="0"/>
                      <a:pt x="172" y="7"/>
                      <a:pt x="172" y="15"/>
                    </a:cubicBezTo>
                    <a:cubicBezTo>
                      <a:pt x="172" y="16"/>
                      <a:pt x="172" y="16"/>
                      <a:pt x="172" y="16"/>
                    </a:cubicBezTo>
                    <a:cubicBezTo>
                      <a:pt x="172" y="48"/>
                      <a:pt x="172" y="48"/>
                      <a:pt x="172" y="48"/>
                    </a:cubicBezTo>
                    <a:cubicBezTo>
                      <a:pt x="212" y="48"/>
                      <a:pt x="212" y="48"/>
                      <a:pt x="212" y="48"/>
                    </a:cubicBezTo>
                    <a:cubicBezTo>
                      <a:pt x="219" y="48"/>
                      <a:pt x="224" y="53"/>
                      <a:pt x="224" y="60"/>
                    </a:cubicBezTo>
                    <a:cubicBezTo>
                      <a:pt x="224" y="88"/>
                      <a:pt x="224" y="88"/>
                      <a:pt x="224" y="88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3"/>
                      <a:pt x="5" y="48"/>
                      <a:pt x="12" y="48"/>
                    </a:cubicBezTo>
                    <a:cubicBezTo>
                      <a:pt x="52" y="48"/>
                      <a:pt x="52" y="48"/>
                      <a:pt x="52" y="48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7"/>
                      <a:pt x="59" y="0"/>
                      <a:pt x="67" y="0"/>
                    </a:cubicBezTo>
                    <a:cubicBezTo>
                      <a:pt x="68" y="0"/>
                      <a:pt x="68" y="0"/>
                      <a:pt x="68" y="0"/>
                    </a:cubicBezTo>
                    <a:lnTo>
                      <a:pt x="156" y="0"/>
                    </a:lnTo>
                    <a:close/>
                    <a:moveTo>
                      <a:pt x="156" y="8"/>
                    </a:moveTo>
                    <a:cubicBezTo>
                      <a:pt x="68" y="8"/>
                      <a:pt x="68" y="8"/>
                      <a:pt x="68" y="8"/>
                    </a:cubicBezTo>
                    <a:cubicBezTo>
                      <a:pt x="64" y="8"/>
                      <a:pt x="60" y="11"/>
                      <a:pt x="60" y="15"/>
                    </a:cubicBezTo>
                    <a:cubicBezTo>
                      <a:pt x="60" y="16"/>
                      <a:pt x="60" y="16"/>
                      <a:pt x="60" y="16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164" y="48"/>
                      <a:pt x="164" y="48"/>
                      <a:pt x="164" y="48"/>
                    </a:cubicBezTo>
                    <a:cubicBezTo>
                      <a:pt x="164" y="16"/>
                      <a:pt x="164" y="16"/>
                      <a:pt x="164" y="16"/>
                    </a:cubicBezTo>
                    <a:cubicBezTo>
                      <a:pt x="164" y="12"/>
                      <a:pt x="161" y="9"/>
                      <a:pt x="157" y="8"/>
                    </a:cubicBezTo>
                    <a:cubicBezTo>
                      <a:pt x="157" y="8"/>
                      <a:pt x="157" y="8"/>
                      <a:pt x="157" y="8"/>
                    </a:cubicBezTo>
                    <a:lnTo>
                      <a:pt x="156" y="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39" name="iśḻîdê">
              <a:extLst>
                <a:ext uri="{FF2B5EF4-FFF2-40B4-BE49-F238E27FC236}">
                  <a16:creationId xmlns:a16="http://schemas.microsoft.com/office/drawing/2014/main" id="{824EC0EF-0ED8-43B3-A35C-8B8356774B55}"/>
                </a:ext>
              </a:extLst>
            </p:cNvPr>
            <p:cNvGrpSpPr/>
            <p:nvPr/>
          </p:nvGrpSpPr>
          <p:grpSpPr>
            <a:xfrm>
              <a:off x="6977706" y="2232266"/>
              <a:ext cx="671878" cy="671876"/>
              <a:chOff x="1711594" y="2493391"/>
              <a:chExt cx="506338" cy="506336"/>
            </a:xfrm>
          </p:grpSpPr>
          <p:sp>
            <p:nvSpPr>
              <p:cNvPr id="55" name="íšlíḓè">
                <a:extLst>
                  <a:ext uri="{FF2B5EF4-FFF2-40B4-BE49-F238E27FC236}">
                    <a16:creationId xmlns:a16="http://schemas.microsoft.com/office/drawing/2014/main" id="{0FB2B030-3145-4620-80FE-B71012E073E2}"/>
                  </a:ext>
                </a:extLst>
              </p:cNvPr>
              <p:cNvSpPr/>
              <p:nvPr/>
            </p:nvSpPr>
            <p:spPr bwMode="auto">
              <a:xfrm>
                <a:off x="1711594" y="2493391"/>
                <a:ext cx="506338" cy="506336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56" name="íślîďè">
                <a:extLst>
                  <a:ext uri="{FF2B5EF4-FFF2-40B4-BE49-F238E27FC236}">
                    <a16:creationId xmlns:a16="http://schemas.microsoft.com/office/drawing/2014/main" id="{7A43B65B-9265-49C1-99CC-893953900ABB}"/>
                  </a:ext>
                </a:extLst>
              </p:cNvPr>
              <p:cNvSpPr/>
              <p:nvPr/>
            </p:nvSpPr>
            <p:spPr bwMode="auto">
              <a:xfrm>
                <a:off x="1833728" y="2647357"/>
                <a:ext cx="262071" cy="198404"/>
              </a:xfrm>
              <a:custGeom>
                <a:avLst/>
                <a:gdLst>
                  <a:gd name="T0" fmla="*/ 212 w 224"/>
                  <a:gd name="T1" fmla="*/ 0 h 168"/>
                  <a:gd name="T2" fmla="*/ 224 w 224"/>
                  <a:gd name="T3" fmla="*/ 12 h 168"/>
                  <a:gd name="T4" fmla="*/ 224 w 224"/>
                  <a:gd name="T5" fmla="*/ 156 h 168"/>
                  <a:gd name="T6" fmla="*/ 212 w 224"/>
                  <a:gd name="T7" fmla="*/ 168 h 168"/>
                  <a:gd name="T8" fmla="*/ 12 w 224"/>
                  <a:gd name="T9" fmla="*/ 168 h 168"/>
                  <a:gd name="T10" fmla="*/ 0 w 224"/>
                  <a:gd name="T11" fmla="*/ 156 h 168"/>
                  <a:gd name="T12" fmla="*/ 0 w 224"/>
                  <a:gd name="T13" fmla="*/ 12 h 168"/>
                  <a:gd name="T14" fmla="*/ 12 w 224"/>
                  <a:gd name="T15" fmla="*/ 0 h 168"/>
                  <a:gd name="T16" fmla="*/ 212 w 224"/>
                  <a:gd name="T17" fmla="*/ 0 h 168"/>
                  <a:gd name="T18" fmla="*/ 164 w 224"/>
                  <a:gd name="T19" fmla="*/ 83 h 168"/>
                  <a:gd name="T20" fmla="*/ 147 w 224"/>
                  <a:gd name="T21" fmla="*/ 85 h 168"/>
                  <a:gd name="T22" fmla="*/ 112 w 224"/>
                  <a:gd name="T23" fmla="*/ 132 h 168"/>
                  <a:gd name="T24" fmla="*/ 111 w 224"/>
                  <a:gd name="T25" fmla="*/ 133 h 168"/>
                  <a:gd name="T26" fmla="*/ 94 w 224"/>
                  <a:gd name="T27" fmla="*/ 134 h 168"/>
                  <a:gd name="T28" fmla="*/ 68 w 224"/>
                  <a:gd name="T29" fmla="*/ 108 h 168"/>
                  <a:gd name="T30" fmla="*/ 67 w 224"/>
                  <a:gd name="T31" fmla="*/ 107 h 168"/>
                  <a:gd name="T32" fmla="*/ 50 w 224"/>
                  <a:gd name="T33" fmla="*/ 109 h 168"/>
                  <a:gd name="T34" fmla="*/ 13 w 224"/>
                  <a:gd name="T35" fmla="*/ 153 h 168"/>
                  <a:gd name="T36" fmla="*/ 12 w 224"/>
                  <a:gd name="T37" fmla="*/ 156 h 168"/>
                  <a:gd name="T38" fmla="*/ 16 w 224"/>
                  <a:gd name="T39" fmla="*/ 160 h 168"/>
                  <a:gd name="T40" fmla="*/ 209 w 224"/>
                  <a:gd name="T41" fmla="*/ 160 h 168"/>
                  <a:gd name="T42" fmla="*/ 211 w 224"/>
                  <a:gd name="T43" fmla="*/ 159 h 168"/>
                  <a:gd name="T44" fmla="*/ 212 w 224"/>
                  <a:gd name="T45" fmla="*/ 154 h 168"/>
                  <a:gd name="T46" fmla="*/ 167 w 224"/>
                  <a:gd name="T47" fmla="*/ 86 h 168"/>
                  <a:gd name="T48" fmla="*/ 164 w 224"/>
                  <a:gd name="T49" fmla="*/ 83 h 168"/>
                  <a:gd name="T50" fmla="*/ 40 w 224"/>
                  <a:gd name="T51" fmla="*/ 24 h 168"/>
                  <a:gd name="T52" fmla="*/ 24 w 224"/>
                  <a:gd name="T53" fmla="*/ 40 h 168"/>
                  <a:gd name="T54" fmla="*/ 40 w 224"/>
                  <a:gd name="T55" fmla="*/ 56 h 168"/>
                  <a:gd name="T56" fmla="*/ 56 w 224"/>
                  <a:gd name="T57" fmla="*/ 40 h 168"/>
                  <a:gd name="T58" fmla="*/ 40 w 224"/>
                  <a:gd name="T59" fmla="*/ 24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4" h="168">
                    <a:moveTo>
                      <a:pt x="212" y="0"/>
                    </a:moveTo>
                    <a:cubicBezTo>
                      <a:pt x="219" y="0"/>
                      <a:pt x="224" y="5"/>
                      <a:pt x="224" y="12"/>
                    </a:cubicBezTo>
                    <a:cubicBezTo>
                      <a:pt x="224" y="156"/>
                      <a:pt x="224" y="156"/>
                      <a:pt x="224" y="156"/>
                    </a:cubicBezTo>
                    <a:cubicBezTo>
                      <a:pt x="224" y="163"/>
                      <a:pt x="219" y="168"/>
                      <a:pt x="212" y="168"/>
                    </a:cubicBezTo>
                    <a:cubicBezTo>
                      <a:pt x="12" y="168"/>
                      <a:pt x="12" y="168"/>
                      <a:pt x="12" y="168"/>
                    </a:cubicBezTo>
                    <a:cubicBezTo>
                      <a:pt x="5" y="168"/>
                      <a:pt x="0" y="163"/>
                      <a:pt x="0" y="156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lnTo>
                      <a:pt x="212" y="0"/>
                    </a:lnTo>
                    <a:close/>
                    <a:moveTo>
                      <a:pt x="164" y="83"/>
                    </a:moveTo>
                    <a:cubicBezTo>
                      <a:pt x="159" y="79"/>
                      <a:pt x="151" y="80"/>
                      <a:pt x="147" y="85"/>
                    </a:cubicBezTo>
                    <a:cubicBezTo>
                      <a:pt x="112" y="132"/>
                      <a:pt x="112" y="132"/>
                      <a:pt x="112" y="132"/>
                    </a:cubicBezTo>
                    <a:cubicBezTo>
                      <a:pt x="112" y="133"/>
                      <a:pt x="111" y="133"/>
                      <a:pt x="111" y="133"/>
                    </a:cubicBezTo>
                    <a:cubicBezTo>
                      <a:pt x="106" y="138"/>
                      <a:pt x="99" y="138"/>
                      <a:pt x="94" y="134"/>
                    </a:cubicBezTo>
                    <a:cubicBezTo>
                      <a:pt x="68" y="108"/>
                      <a:pt x="68" y="108"/>
                      <a:pt x="68" y="108"/>
                    </a:cubicBezTo>
                    <a:cubicBezTo>
                      <a:pt x="67" y="107"/>
                      <a:pt x="67" y="107"/>
                      <a:pt x="67" y="107"/>
                    </a:cubicBezTo>
                    <a:cubicBezTo>
                      <a:pt x="62" y="103"/>
                      <a:pt x="54" y="104"/>
                      <a:pt x="50" y="109"/>
                    </a:cubicBezTo>
                    <a:cubicBezTo>
                      <a:pt x="13" y="153"/>
                      <a:pt x="13" y="153"/>
                      <a:pt x="13" y="153"/>
                    </a:cubicBezTo>
                    <a:cubicBezTo>
                      <a:pt x="13" y="154"/>
                      <a:pt x="12" y="155"/>
                      <a:pt x="12" y="156"/>
                    </a:cubicBezTo>
                    <a:cubicBezTo>
                      <a:pt x="12" y="158"/>
                      <a:pt x="14" y="160"/>
                      <a:pt x="16" y="160"/>
                    </a:cubicBezTo>
                    <a:cubicBezTo>
                      <a:pt x="209" y="160"/>
                      <a:pt x="209" y="160"/>
                      <a:pt x="209" y="160"/>
                    </a:cubicBezTo>
                    <a:cubicBezTo>
                      <a:pt x="209" y="160"/>
                      <a:pt x="210" y="160"/>
                      <a:pt x="211" y="159"/>
                    </a:cubicBezTo>
                    <a:cubicBezTo>
                      <a:pt x="213" y="158"/>
                      <a:pt x="213" y="156"/>
                      <a:pt x="212" y="154"/>
                    </a:cubicBezTo>
                    <a:cubicBezTo>
                      <a:pt x="167" y="86"/>
                      <a:pt x="167" y="86"/>
                      <a:pt x="167" y="86"/>
                    </a:cubicBezTo>
                    <a:cubicBezTo>
                      <a:pt x="166" y="85"/>
                      <a:pt x="165" y="84"/>
                      <a:pt x="164" y="83"/>
                    </a:cubicBezTo>
                    <a:close/>
                    <a:moveTo>
                      <a:pt x="40" y="24"/>
                    </a:moveTo>
                    <a:cubicBezTo>
                      <a:pt x="31" y="24"/>
                      <a:pt x="24" y="31"/>
                      <a:pt x="24" y="40"/>
                    </a:cubicBezTo>
                    <a:cubicBezTo>
                      <a:pt x="24" y="49"/>
                      <a:pt x="31" y="56"/>
                      <a:pt x="40" y="56"/>
                    </a:cubicBezTo>
                    <a:cubicBezTo>
                      <a:pt x="49" y="56"/>
                      <a:pt x="56" y="49"/>
                      <a:pt x="56" y="40"/>
                    </a:cubicBezTo>
                    <a:cubicBezTo>
                      <a:pt x="56" y="31"/>
                      <a:pt x="49" y="24"/>
                      <a:pt x="40" y="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40" name="îşlíḑe">
              <a:extLst>
                <a:ext uri="{FF2B5EF4-FFF2-40B4-BE49-F238E27FC236}">
                  <a16:creationId xmlns:a16="http://schemas.microsoft.com/office/drawing/2014/main" id="{3181C429-4AA5-4F23-9B4F-268AD3615087}"/>
                </a:ext>
              </a:extLst>
            </p:cNvPr>
            <p:cNvGrpSpPr/>
            <p:nvPr/>
          </p:nvGrpSpPr>
          <p:grpSpPr>
            <a:xfrm>
              <a:off x="6977706" y="4107090"/>
              <a:ext cx="671878" cy="671876"/>
              <a:chOff x="1711594" y="2493391"/>
              <a:chExt cx="506338" cy="506336"/>
            </a:xfrm>
          </p:grpSpPr>
          <p:sp>
            <p:nvSpPr>
              <p:cNvPr id="53" name="îsḻîḑé">
                <a:extLst>
                  <a:ext uri="{FF2B5EF4-FFF2-40B4-BE49-F238E27FC236}">
                    <a16:creationId xmlns:a16="http://schemas.microsoft.com/office/drawing/2014/main" id="{4678D9EB-C4DD-4D8A-A964-869BD41AC85B}"/>
                  </a:ext>
                </a:extLst>
              </p:cNvPr>
              <p:cNvSpPr/>
              <p:nvPr/>
            </p:nvSpPr>
            <p:spPr bwMode="auto">
              <a:xfrm>
                <a:off x="1711594" y="2493391"/>
                <a:ext cx="506338" cy="506336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54" name="ïśḻîḑê">
                <a:extLst>
                  <a:ext uri="{FF2B5EF4-FFF2-40B4-BE49-F238E27FC236}">
                    <a16:creationId xmlns:a16="http://schemas.microsoft.com/office/drawing/2014/main" id="{C074DBB0-E336-41AD-BD2C-C5D5039AF495}"/>
                  </a:ext>
                </a:extLst>
              </p:cNvPr>
              <p:cNvSpPr/>
              <p:nvPr/>
            </p:nvSpPr>
            <p:spPr bwMode="auto">
              <a:xfrm>
                <a:off x="1833728" y="2636864"/>
                <a:ext cx="262071" cy="219391"/>
              </a:xfrm>
              <a:custGeom>
                <a:avLst/>
                <a:gdLst>
                  <a:gd name="T0" fmla="*/ 203 w 222"/>
                  <a:gd name="T1" fmla="*/ 56 h 184"/>
                  <a:gd name="T2" fmla="*/ 222 w 222"/>
                  <a:gd name="T3" fmla="*/ 75 h 184"/>
                  <a:gd name="T4" fmla="*/ 221 w 222"/>
                  <a:gd name="T5" fmla="*/ 76 h 184"/>
                  <a:gd name="T6" fmla="*/ 216 w 222"/>
                  <a:gd name="T7" fmla="*/ 149 h 184"/>
                  <a:gd name="T8" fmla="*/ 204 w 222"/>
                  <a:gd name="T9" fmla="*/ 160 h 184"/>
                  <a:gd name="T10" fmla="*/ 191 w 222"/>
                  <a:gd name="T11" fmla="*/ 160 h 184"/>
                  <a:gd name="T12" fmla="*/ 191 w 222"/>
                  <a:gd name="T13" fmla="*/ 184 h 184"/>
                  <a:gd name="T14" fmla="*/ 183 w 222"/>
                  <a:gd name="T15" fmla="*/ 184 h 184"/>
                  <a:gd name="T16" fmla="*/ 183 w 222"/>
                  <a:gd name="T17" fmla="*/ 160 h 184"/>
                  <a:gd name="T18" fmla="*/ 39 w 222"/>
                  <a:gd name="T19" fmla="*/ 160 h 184"/>
                  <a:gd name="T20" fmla="*/ 39 w 222"/>
                  <a:gd name="T21" fmla="*/ 184 h 184"/>
                  <a:gd name="T22" fmla="*/ 31 w 222"/>
                  <a:gd name="T23" fmla="*/ 184 h 184"/>
                  <a:gd name="T24" fmla="*/ 31 w 222"/>
                  <a:gd name="T25" fmla="*/ 160 h 184"/>
                  <a:gd name="T26" fmla="*/ 18 w 222"/>
                  <a:gd name="T27" fmla="*/ 160 h 184"/>
                  <a:gd name="T28" fmla="*/ 6 w 222"/>
                  <a:gd name="T29" fmla="*/ 149 h 184"/>
                  <a:gd name="T30" fmla="*/ 1 w 222"/>
                  <a:gd name="T31" fmla="*/ 76 h 184"/>
                  <a:gd name="T32" fmla="*/ 18 w 222"/>
                  <a:gd name="T33" fmla="*/ 56 h 184"/>
                  <a:gd name="T34" fmla="*/ 19 w 222"/>
                  <a:gd name="T35" fmla="*/ 56 h 184"/>
                  <a:gd name="T36" fmla="*/ 43 w 222"/>
                  <a:gd name="T37" fmla="*/ 76 h 184"/>
                  <a:gd name="T38" fmla="*/ 51 w 222"/>
                  <a:gd name="T39" fmla="*/ 120 h 184"/>
                  <a:gd name="T40" fmla="*/ 171 w 222"/>
                  <a:gd name="T41" fmla="*/ 120 h 184"/>
                  <a:gd name="T42" fmla="*/ 179 w 222"/>
                  <a:gd name="T43" fmla="*/ 76 h 184"/>
                  <a:gd name="T44" fmla="*/ 203 w 222"/>
                  <a:gd name="T45" fmla="*/ 56 h 184"/>
                  <a:gd name="T46" fmla="*/ 175 w 222"/>
                  <a:gd name="T47" fmla="*/ 0 h 184"/>
                  <a:gd name="T48" fmla="*/ 203 w 222"/>
                  <a:gd name="T49" fmla="*/ 28 h 184"/>
                  <a:gd name="T50" fmla="*/ 203 w 222"/>
                  <a:gd name="T51" fmla="*/ 48 h 184"/>
                  <a:gd name="T52" fmla="*/ 200 w 222"/>
                  <a:gd name="T53" fmla="*/ 48 h 184"/>
                  <a:gd name="T54" fmla="*/ 173 w 222"/>
                  <a:gd name="T55" fmla="*/ 70 h 184"/>
                  <a:gd name="T56" fmla="*/ 173 w 222"/>
                  <a:gd name="T57" fmla="*/ 71 h 184"/>
                  <a:gd name="T58" fmla="*/ 165 w 222"/>
                  <a:gd name="T59" fmla="*/ 112 h 184"/>
                  <a:gd name="T60" fmla="*/ 57 w 222"/>
                  <a:gd name="T61" fmla="*/ 112 h 184"/>
                  <a:gd name="T62" fmla="*/ 49 w 222"/>
                  <a:gd name="T63" fmla="*/ 71 h 184"/>
                  <a:gd name="T64" fmla="*/ 22 w 222"/>
                  <a:gd name="T65" fmla="*/ 48 h 184"/>
                  <a:gd name="T66" fmla="*/ 23 w 222"/>
                  <a:gd name="T67" fmla="*/ 28 h 184"/>
                  <a:gd name="T68" fmla="*/ 51 w 222"/>
                  <a:gd name="T69" fmla="*/ 0 h 184"/>
                  <a:gd name="T70" fmla="*/ 175 w 222"/>
                  <a:gd name="T7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2" h="184">
                    <a:moveTo>
                      <a:pt x="203" y="56"/>
                    </a:moveTo>
                    <a:cubicBezTo>
                      <a:pt x="213" y="56"/>
                      <a:pt x="222" y="64"/>
                      <a:pt x="222" y="75"/>
                    </a:cubicBezTo>
                    <a:cubicBezTo>
                      <a:pt x="222" y="75"/>
                      <a:pt x="222" y="75"/>
                      <a:pt x="221" y="76"/>
                    </a:cubicBezTo>
                    <a:cubicBezTo>
                      <a:pt x="216" y="149"/>
                      <a:pt x="216" y="149"/>
                      <a:pt x="216" y="149"/>
                    </a:cubicBezTo>
                    <a:cubicBezTo>
                      <a:pt x="215" y="155"/>
                      <a:pt x="210" y="160"/>
                      <a:pt x="204" y="160"/>
                    </a:cubicBezTo>
                    <a:cubicBezTo>
                      <a:pt x="191" y="160"/>
                      <a:pt x="191" y="160"/>
                      <a:pt x="191" y="160"/>
                    </a:cubicBezTo>
                    <a:cubicBezTo>
                      <a:pt x="191" y="184"/>
                      <a:pt x="191" y="184"/>
                      <a:pt x="191" y="184"/>
                    </a:cubicBezTo>
                    <a:cubicBezTo>
                      <a:pt x="183" y="184"/>
                      <a:pt x="183" y="184"/>
                      <a:pt x="183" y="184"/>
                    </a:cubicBezTo>
                    <a:cubicBezTo>
                      <a:pt x="183" y="160"/>
                      <a:pt x="183" y="160"/>
                      <a:pt x="183" y="160"/>
                    </a:cubicBezTo>
                    <a:cubicBezTo>
                      <a:pt x="39" y="160"/>
                      <a:pt x="39" y="160"/>
                      <a:pt x="39" y="160"/>
                    </a:cubicBezTo>
                    <a:cubicBezTo>
                      <a:pt x="39" y="184"/>
                      <a:pt x="39" y="184"/>
                      <a:pt x="39" y="184"/>
                    </a:cubicBezTo>
                    <a:cubicBezTo>
                      <a:pt x="31" y="184"/>
                      <a:pt x="31" y="184"/>
                      <a:pt x="31" y="184"/>
                    </a:cubicBezTo>
                    <a:cubicBezTo>
                      <a:pt x="31" y="160"/>
                      <a:pt x="31" y="160"/>
                      <a:pt x="31" y="160"/>
                    </a:cubicBezTo>
                    <a:cubicBezTo>
                      <a:pt x="18" y="160"/>
                      <a:pt x="18" y="160"/>
                      <a:pt x="18" y="160"/>
                    </a:cubicBezTo>
                    <a:cubicBezTo>
                      <a:pt x="12" y="160"/>
                      <a:pt x="7" y="155"/>
                      <a:pt x="6" y="149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66"/>
                      <a:pt x="7" y="57"/>
                      <a:pt x="18" y="56"/>
                    </a:cubicBezTo>
                    <a:cubicBezTo>
                      <a:pt x="18" y="56"/>
                      <a:pt x="19" y="56"/>
                      <a:pt x="19" y="56"/>
                    </a:cubicBezTo>
                    <a:cubicBezTo>
                      <a:pt x="31" y="56"/>
                      <a:pt x="41" y="64"/>
                      <a:pt x="43" y="76"/>
                    </a:cubicBezTo>
                    <a:cubicBezTo>
                      <a:pt x="51" y="120"/>
                      <a:pt x="51" y="120"/>
                      <a:pt x="51" y="120"/>
                    </a:cubicBezTo>
                    <a:cubicBezTo>
                      <a:pt x="171" y="120"/>
                      <a:pt x="171" y="120"/>
                      <a:pt x="171" y="120"/>
                    </a:cubicBezTo>
                    <a:cubicBezTo>
                      <a:pt x="179" y="76"/>
                      <a:pt x="179" y="76"/>
                      <a:pt x="179" y="76"/>
                    </a:cubicBezTo>
                    <a:cubicBezTo>
                      <a:pt x="181" y="64"/>
                      <a:pt x="191" y="56"/>
                      <a:pt x="203" y="56"/>
                    </a:cubicBezTo>
                    <a:close/>
                    <a:moveTo>
                      <a:pt x="175" y="0"/>
                    </a:moveTo>
                    <a:cubicBezTo>
                      <a:pt x="190" y="0"/>
                      <a:pt x="203" y="13"/>
                      <a:pt x="203" y="28"/>
                    </a:cubicBezTo>
                    <a:cubicBezTo>
                      <a:pt x="203" y="48"/>
                      <a:pt x="203" y="48"/>
                      <a:pt x="203" y="48"/>
                    </a:cubicBezTo>
                    <a:cubicBezTo>
                      <a:pt x="202" y="48"/>
                      <a:pt x="201" y="48"/>
                      <a:pt x="200" y="48"/>
                    </a:cubicBezTo>
                    <a:cubicBezTo>
                      <a:pt x="187" y="48"/>
                      <a:pt x="176" y="57"/>
                      <a:pt x="173" y="70"/>
                    </a:cubicBezTo>
                    <a:cubicBezTo>
                      <a:pt x="173" y="71"/>
                      <a:pt x="173" y="71"/>
                      <a:pt x="173" y="71"/>
                    </a:cubicBezTo>
                    <a:cubicBezTo>
                      <a:pt x="165" y="112"/>
                      <a:pt x="165" y="112"/>
                      <a:pt x="165" y="112"/>
                    </a:cubicBezTo>
                    <a:cubicBezTo>
                      <a:pt x="57" y="112"/>
                      <a:pt x="57" y="112"/>
                      <a:pt x="57" y="112"/>
                    </a:cubicBezTo>
                    <a:cubicBezTo>
                      <a:pt x="49" y="71"/>
                      <a:pt x="49" y="71"/>
                      <a:pt x="49" y="71"/>
                    </a:cubicBezTo>
                    <a:cubicBezTo>
                      <a:pt x="47" y="57"/>
                      <a:pt x="35" y="48"/>
                      <a:pt x="22" y="4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13"/>
                      <a:pt x="36" y="0"/>
                      <a:pt x="51" y="0"/>
                    </a:cubicBezTo>
                    <a:lnTo>
                      <a:pt x="17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41" name="iṩ1ïdè">
              <a:extLst>
                <a:ext uri="{FF2B5EF4-FFF2-40B4-BE49-F238E27FC236}">
                  <a16:creationId xmlns:a16="http://schemas.microsoft.com/office/drawing/2014/main" id="{B841574B-0B81-414A-A3F5-E9DABFB947D8}"/>
                </a:ext>
              </a:extLst>
            </p:cNvPr>
            <p:cNvGrpSpPr/>
            <p:nvPr/>
          </p:nvGrpSpPr>
          <p:grpSpPr>
            <a:xfrm>
              <a:off x="7749615" y="2038664"/>
              <a:ext cx="3603106" cy="1095609"/>
              <a:chOff x="660400" y="3461071"/>
              <a:chExt cx="2608726" cy="1095609"/>
            </a:xfrm>
          </p:grpSpPr>
          <p:sp>
            <p:nvSpPr>
              <p:cNvPr id="51" name="ïṩ1iḑè">
                <a:extLst>
                  <a:ext uri="{FF2B5EF4-FFF2-40B4-BE49-F238E27FC236}">
                    <a16:creationId xmlns:a16="http://schemas.microsoft.com/office/drawing/2014/main" id="{232D7B11-4B46-4BA1-BC15-2AA0A8F7D9FE}"/>
                  </a:ext>
                </a:extLst>
              </p:cNvPr>
              <p:cNvSpPr/>
              <p:nvPr/>
            </p:nvSpPr>
            <p:spPr>
              <a:xfrm>
                <a:off x="660400" y="3461071"/>
                <a:ext cx="2608726" cy="3776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400" b="1">
                    <a:solidFill>
                      <a:schemeClr val="tx1"/>
                    </a:solidFill>
                  </a:rPr>
                  <a:t>Text here</a:t>
                </a:r>
              </a:p>
            </p:txBody>
          </p:sp>
          <p:sp>
            <p:nvSpPr>
              <p:cNvPr id="52" name="îsḷíďé">
                <a:extLst>
                  <a:ext uri="{FF2B5EF4-FFF2-40B4-BE49-F238E27FC236}">
                    <a16:creationId xmlns:a16="http://schemas.microsoft.com/office/drawing/2014/main" id="{F29B9B73-2F08-4258-8801-87DF6F22E0B2}"/>
                  </a:ext>
                </a:extLst>
              </p:cNvPr>
              <p:cNvSpPr/>
              <p:nvPr/>
            </p:nvSpPr>
            <p:spPr bwMode="auto">
              <a:xfrm>
                <a:off x="660400" y="3838711"/>
                <a:ext cx="2608726" cy="7179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defTabSz="914400"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</p:grpSp>
        <p:grpSp>
          <p:nvGrpSpPr>
            <p:cNvPr id="42" name="íŝḷïďe">
              <a:extLst>
                <a:ext uri="{FF2B5EF4-FFF2-40B4-BE49-F238E27FC236}">
                  <a16:creationId xmlns:a16="http://schemas.microsoft.com/office/drawing/2014/main" id="{B973DE1F-2F32-4FC4-B9F1-9CB0EF805ACC}"/>
                </a:ext>
              </a:extLst>
            </p:cNvPr>
            <p:cNvGrpSpPr/>
            <p:nvPr/>
          </p:nvGrpSpPr>
          <p:grpSpPr>
            <a:xfrm>
              <a:off x="7749615" y="3895223"/>
              <a:ext cx="3603106" cy="1095609"/>
              <a:chOff x="660400" y="3461071"/>
              <a:chExt cx="2608726" cy="1095609"/>
            </a:xfrm>
          </p:grpSpPr>
          <p:sp>
            <p:nvSpPr>
              <p:cNvPr id="49" name="ïṧlîḍè">
                <a:extLst>
                  <a:ext uri="{FF2B5EF4-FFF2-40B4-BE49-F238E27FC236}">
                    <a16:creationId xmlns:a16="http://schemas.microsoft.com/office/drawing/2014/main" id="{EC72963E-8F50-486A-B49B-38370A36AF0B}"/>
                  </a:ext>
                </a:extLst>
              </p:cNvPr>
              <p:cNvSpPr/>
              <p:nvPr/>
            </p:nvSpPr>
            <p:spPr>
              <a:xfrm>
                <a:off x="660400" y="3461071"/>
                <a:ext cx="2608726" cy="3776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400" b="1">
                    <a:solidFill>
                      <a:schemeClr val="tx1"/>
                    </a:solidFill>
                  </a:rPr>
                  <a:t>Text here</a:t>
                </a:r>
              </a:p>
            </p:txBody>
          </p:sp>
          <p:sp>
            <p:nvSpPr>
              <p:cNvPr id="50" name="íṧḷíḋè">
                <a:extLst>
                  <a:ext uri="{FF2B5EF4-FFF2-40B4-BE49-F238E27FC236}">
                    <a16:creationId xmlns:a16="http://schemas.microsoft.com/office/drawing/2014/main" id="{961E6FC6-84A1-4C18-8303-E2281ACED5E9}"/>
                  </a:ext>
                </a:extLst>
              </p:cNvPr>
              <p:cNvSpPr/>
              <p:nvPr/>
            </p:nvSpPr>
            <p:spPr bwMode="auto">
              <a:xfrm>
                <a:off x="660400" y="3838711"/>
                <a:ext cx="2608726" cy="7179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defTabSz="914400"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</p:grpSp>
        <p:grpSp>
          <p:nvGrpSpPr>
            <p:cNvPr id="43" name="íṥḻïḍe">
              <a:extLst>
                <a:ext uri="{FF2B5EF4-FFF2-40B4-BE49-F238E27FC236}">
                  <a16:creationId xmlns:a16="http://schemas.microsoft.com/office/drawing/2014/main" id="{8EA23F45-B03D-4AFB-9751-28980D4F7155}"/>
                </a:ext>
              </a:extLst>
            </p:cNvPr>
            <p:cNvGrpSpPr/>
            <p:nvPr/>
          </p:nvGrpSpPr>
          <p:grpSpPr>
            <a:xfrm>
              <a:off x="839203" y="2038664"/>
              <a:ext cx="3603106" cy="1095609"/>
              <a:chOff x="660400" y="3461071"/>
              <a:chExt cx="2608726" cy="1095609"/>
            </a:xfrm>
          </p:grpSpPr>
          <p:sp>
            <p:nvSpPr>
              <p:cNvPr id="47" name="ïṥļîďè">
                <a:extLst>
                  <a:ext uri="{FF2B5EF4-FFF2-40B4-BE49-F238E27FC236}">
                    <a16:creationId xmlns:a16="http://schemas.microsoft.com/office/drawing/2014/main" id="{4E325691-B1AC-4E2B-AB06-546F57E2C67E}"/>
                  </a:ext>
                </a:extLst>
              </p:cNvPr>
              <p:cNvSpPr/>
              <p:nvPr/>
            </p:nvSpPr>
            <p:spPr>
              <a:xfrm>
                <a:off x="660400" y="3461071"/>
                <a:ext cx="2608726" cy="3776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altLang="zh-CN" sz="1400" b="1">
                    <a:solidFill>
                      <a:schemeClr val="tx1"/>
                    </a:solidFill>
                  </a:rPr>
                  <a:t>Text here</a:t>
                </a:r>
              </a:p>
            </p:txBody>
          </p:sp>
          <p:sp>
            <p:nvSpPr>
              <p:cNvPr id="48" name="ïṣľíḋê">
                <a:extLst>
                  <a:ext uri="{FF2B5EF4-FFF2-40B4-BE49-F238E27FC236}">
                    <a16:creationId xmlns:a16="http://schemas.microsoft.com/office/drawing/2014/main" id="{F5F30764-7D24-4CA9-8AE8-28EDDA1FE960}"/>
                  </a:ext>
                </a:extLst>
              </p:cNvPr>
              <p:cNvSpPr/>
              <p:nvPr/>
            </p:nvSpPr>
            <p:spPr bwMode="auto">
              <a:xfrm>
                <a:off x="660400" y="3838711"/>
                <a:ext cx="2608726" cy="7179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914400"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algn="r" defTabSz="914400"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</p:grpSp>
        <p:grpSp>
          <p:nvGrpSpPr>
            <p:cNvPr id="44" name="íṡļidè">
              <a:extLst>
                <a:ext uri="{FF2B5EF4-FFF2-40B4-BE49-F238E27FC236}">
                  <a16:creationId xmlns:a16="http://schemas.microsoft.com/office/drawing/2014/main" id="{56C0D06D-2D54-42EC-ADA0-FFD3E51AC7A9}"/>
                </a:ext>
              </a:extLst>
            </p:cNvPr>
            <p:cNvGrpSpPr/>
            <p:nvPr/>
          </p:nvGrpSpPr>
          <p:grpSpPr>
            <a:xfrm>
              <a:off x="839203" y="3895223"/>
              <a:ext cx="3603106" cy="1095609"/>
              <a:chOff x="660400" y="3461071"/>
              <a:chExt cx="2608726" cy="1095609"/>
            </a:xfrm>
          </p:grpSpPr>
          <p:sp>
            <p:nvSpPr>
              <p:cNvPr id="45" name="iṡ1îḓê">
                <a:extLst>
                  <a:ext uri="{FF2B5EF4-FFF2-40B4-BE49-F238E27FC236}">
                    <a16:creationId xmlns:a16="http://schemas.microsoft.com/office/drawing/2014/main" id="{D419BAB5-B90E-4200-AD2C-A21E82F60538}"/>
                  </a:ext>
                </a:extLst>
              </p:cNvPr>
              <p:cNvSpPr/>
              <p:nvPr/>
            </p:nvSpPr>
            <p:spPr>
              <a:xfrm>
                <a:off x="660400" y="3461071"/>
                <a:ext cx="2608726" cy="377640"/>
              </a:xfrm>
              <a:prstGeom prst="rect">
                <a:avLst/>
              </a:prstGeom>
              <a:noFill/>
              <a:ln w="762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altLang="zh-CN" sz="1400" b="1">
                    <a:solidFill>
                      <a:schemeClr val="tx1"/>
                    </a:solidFill>
                  </a:rPr>
                  <a:t>Text here</a:t>
                </a:r>
              </a:p>
            </p:txBody>
          </p:sp>
          <p:sp>
            <p:nvSpPr>
              <p:cNvPr id="46" name="î$ḷídè">
                <a:extLst>
                  <a:ext uri="{FF2B5EF4-FFF2-40B4-BE49-F238E27FC236}">
                    <a16:creationId xmlns:a16="http://schemas.microsoft.com/office/drawing/2014/main" id="{50128925-2C12-4539-B3D2-5F6DC7EB388B}"/>
                  </a:ext>
                </a:extLst>
              </p:cNvPr>
              <p:cNvSpPr/>
              <p:nvPr/>
            </p:nvSpPr>
            <p:spPr bwMode="auto">
              <a:xfrm>
                <a:off x="660400" y="3838711"/>
                <a:ext cx="2608726" cy="7179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914400"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algn="r" defTabSz="914400"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28477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$ḻî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iṥľïḋè">
            <a:extLst>
              <a:ext uri="{FF2B5EF4-FFF2-40B4-BE49-F238E27FC236}">
                <a16:creationId xmlns:a16="http://schemas.microsoft.com/office/drawing/2014/main" id="{1D6C3C15-E3B6-4567-A9C3-B770B1D37228}"/>
              </a:ext>
            </a:extLst>
          </p:cNvPr>
          <p:cNvSpPr/>
          <p:nvPr/>
        </p:nvSpPr>
        <p:spPr>
          <a:xfrm>
            <a:off x="669925" y="778175"/>
            <a:ext cx="2514196" cy="575294"/>
          </a:xfrm>
          <a:prstGeom prst="roundRect">
            <a:avLst>
              <a:gd name="adj" fmla="val 1942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kern="0" dirty="0">
                <a:ln w="6350">
                  <a:noFill/>
                </a:ln>
                <a:solidFill>
                  <a:schemeClr val="bg1"/>
                </a:solidFill>
                <a:ea typeface="微软雅黑" panose="020B0503020204020204" pitchFamily="34" charset="-122"/>
              </a:rPr>
              <a:t>目录</a:t>
            </a:r>
            <a:r>
              <a:rPr lang="en-US" altLang="zh-CN" sz="2400" b="1" kern="0" dirty="0">
                <a:ln w="6350">
                  <a:noFill/>
                </a:ln>
                <a:solidFill>
                  <a:schemeClr val="bg1"/>
                </a:solidFill>
                <a:ea typeface="微软雅黑" panose="020B0503020204020204" pitchFamily="34" charset="-122"/>
              </a:rPr>
              <a:t>/</a:t>
            </a:r>
            <a:r>
              <a:rPr lang="zh-CN" altLang="en-US" sz="2400" b="1" dirty="0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30" name="íṡḻîďé">
            <a:extLst>
              <a:ext uri="{FF2B5EF4-FFF2-40B4-BE49-F238E27FC236}">
                <a16:creationId xmlns:a16="http://schemas.microsoft.com/office/drawing/2014/main" id="{316163C3-1198-495E-81CA-CB60916564EF}"/>
              </a:ext>
            </a:extLst>
          </p:cNvPr>
          <p:cNvSpPr>
            <a:spLocks/>
          </p:cNvSpPr>
          <p:nvPr/>
        </p:nvSpPr>
        <p:spPr bwMode="auto">
          <a:xfrm>
            <a:off x="5490862" y="435429"/>
            <a:ext cx="6702455" cy="6422570"/>
          </a:xfrm>
          <a:custGeom>
            <a:avLst/>
            <a:gdLst>
              <a:gd name="connsiteX0" fmla="*/ 7156860 w 7156861"/>
              <a:gd name="connsiteY0" fmla="*/ 0 h 6858000"/>
              <a:gd name="connsiteX1" fmla="*/ 7156861 w 7156861"/>
              <a:gd name="connsiteY1" fmla="*/ 0 h 6858000"/>
              <a:gd name="connsiteX2" fmla="*/ 7156861 w 7156861"/>
              <a:gd name="connsiteY2" fmla="*/ 4337985 h 6858000"/>
              <a:gd name="connsiteX3" fmla="*/ 6948215 w 7156861"/>
              <a:gd name="connsiteY3" fmla="*/ 4475021 h 6858000"/>
              <a:gd name="connsiteX4" fmla="*/ 1534009 w 7156861"/>
              <a:gd name="connsiteY4" fmla="*/ 6729340 h 6858000"/>
              <a:gd name="connsiteX5" fmla="*/ 1086732 w 7156861"/>
              <a:gd name="connsiteY5" fmla="*/ 6858000 h 6858000"/>
              <a:gd name="connsiteX6" fmla="*/ 0 w 7156861"/>
              <a:gd name="connsiteY6" fmla="*/ 6858000 h 6858000"/>
              <a:gd name="connsiteX7" fmla="*/ 217993 w 7156861"/>
              <a:gd name="connsiteY7" fmla="*/ 6800637 h 6858000"/>
              <a:gd name="connsiteX8" fmla="*/ 7082159 w 7156861"/>
              <a:gd name="connsiteY8" fmla="*/ 3974080 h 6858000"/>
              <a:gd name="connsiteX9" fmla="*/ 7156860 w 7156861"/>
              <a:gd name="connsiteY9" fmla="*/ 39173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861" h="6858000">
                <a:moveTo>
                  <a:pt x="7156860" y="0"/>
                </a:moveTo>
                <a:lnTo>
                  <a:pt x="7156861" y="0"/>
                </a:lnTo>
                <a:lnTo>
                  <a:pt x="7156861" y="4337985"/>
                </a:lnTo>
                <a:lnTo>
                  <a:pt x="6948215" y="4475021"/>
                </a:lnTo>
                <a:cubicBezTo>
                  <a:pt x="5782627" y="5214723"/>
                  <a:pt x="4054093" y="5981668"/>
                  <a:pt x="1534009" y="6729340"/>
                </a:cubicBezTo>
                <a:lnTo>
                  <a:pt x="1086732" y="6858000"/>
                </a:lnTo>
                <a:lnTo>
                  <a:pt x="0" y="6858000"/>
                </a:lnTo>
                <a:lnTo>
                  <a:pt x="217993" y="6800637"/>
                </a:lnTo>
                <a:cubicBezTo>
                  <a:pt x="3701105" y="5868546"/>
                  <a:pt x="5825543" y="4893070"/>
                  <a:pt x="7082159" y="3974080"/>
                </a:cubicBezTo>
                <a:lnTo>
                  <a:pt x="7156860" y="391738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115" name="îsļïḋé">
            <a:extLst>
              <a:ext uri="{FF2B5EF4-FFF2-40B4-BE49-F238E27FC236}">
                <a16:creationId xmlns:a16="http://schemas.microsoft.com/office/drawing/2014/main" id="{1165EF2E-539C-4A7B-ABAF-8B10F359F8BD}"/>
              </a:ext>
            </a:extLst>
          </p:cNvPr>
          <p:cNvSpPr txBox="1"/>
          <p:nvPr/>
        </p:nvSpPr>
        <p:spPr>
          <a:xfrm>
            <a:off x="1366139" y="1896077"/>
            <a:ext cx="1817982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de-DE" b="1" dirty="0"/>
              <a:t>Text here</a:t>
            </a:r>
          </a:p>
        </p:txBody>
      </p:sp>
      <p:sp>
        <p:nvSpPr>
          <p:cNvPr id="116" name="ïṣḷîďè">
            <a:extLst>
              <a:ext uri="{FF2B5EF4-FFF2-40B4-BE49-F238E27FC236}">
                <a16:creationId xmlns:a16="http://schemas.microsoft.com/office/drawing/2014/main" id="{9CA55FDB-58E4-438F-87D8-BE5927804E0F}"/>
              </a:ext>
            </a:extLst>
          </p:cNvPr>
          <p:cNvSpPr txBox="1"/>
          <p:nvPr/>
        </p:nvSpPr>
        <p:spPr>
          <a:xfrm>
            <a:off x="1366139" y="2330096"/>
            <a:ext cx="3002661" cy="70520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</a:t>
            </a:r>
            <a:r>
              <a:rPr lang="en-US" altLang="zh-CN" sz="300" dirty="0"/>
              <a:t> </a:t>
            </a:r>
            <a:r>
              <a:rPr lang="en-US" altLang="zh-CN" sz="1100" dirty="0"/>
              <a:t> Choose the only option to retain text……</a:t>
            </a:r>
          </a:p>
        </p:txBody>
      </p:sp>
      <p:sp>
        <p:nvSpPr>
          <p:cNvPr id="130" name="îšḷídè">
            <a:extLst>
              <a:ext uri="{FF2B5EF4-FFF2-40B4-BE49-F238E27FC236}">
                <a16:creationId xmlns:a16="http://schemas.microsoft.com/office/drawing/2014/main" id="{6A918329-D601-4B87-8DCA-F96693021391}"/>
              </a:ext>
            </a:extLst>
          </p:cNvPr>
          <p:cNvSpPr txBox="1"/>
          <p:nvPr/>
        </p:nvSpPr>
        <p:spPr>
          <a:xfrm>
            <a:off x="1366139" y="3219191"/>
            <a:ext cx="1817982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de-DE" b="1" dirty="0"/>
              <a:t>Text here</a:t>
            </a:r>
          </a:p>
        </p:txBody>
      </p:sp>
      <p:sp>
        <p:nvSpPr>
          <p:cNvPr id="131" name="iṥľíḓè">
            <a:extLst>
              <a:ext uri="{FF2B5EF4-FFF2-40B4-BE49-F238E27FC236}">
                <a16:creationId xmlns:a16="http://schemas.microsoft.com/office/drawing/2014/main" id="{77C82D4D-0F4B-4647-9A83-F7343283D724}"/>
              </a:ext>
            </a:extLst>
          </p:cNvPr>
          <p:cNvSpPr txBox="1"/>
          <p:nvPr/>
        </p:nvSpPr>
        <p:spPr>
          <a:xfrm>
            <a:off x="1366139" y="3658608"/>
            <a:ext cx="3002661" cy="70520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</a:t>
            </a:r>
            <a:r>
              <a:rPr lang="en-US" altLang="zh-CN" sz="300" dirty="0"/>
              <a:t> </a:t>
            </a:r>
            <a:r>
              <a:rPr lang="en-US" altLang="zh-CN" sz="1100" dirty="0"/>
              <a:t> Choose the only option to retain text……</a:t>
            </a:r>
          </a:p>
        </p:txBody>
      </p:sp>
      <p:sp>
        <p:nvSpPr>
          <p:cNvPr id="132" name="ïšḻîdé">
            <a:extLst>
              <a:ext uri="{FF2B5EF4-FFF2-40B4-BE49-F238E27FC236}">
                <a16:creationId xmlns:a16="http://schemas.microsoft.com/office/drawing/2014/main" id="{1CBA397D-7A0E-4CAD-8128-AAA46E465C26}"/>
              </a:ext>
            </a:extLst>
          </p:cNvPr>
          <p:cNvSpPr txBox="1"/>
          <p:nvPr/>
        </p:nvSpPr>
        <p:spPr>
          <a:xfrm>
            <a:off x="1366139" y="4542305"/>
            <a:ext cx="1817982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de-DE" b="1" dirty="0"/>
              <a:t>Text here</a:t>
            </a:r>
          </a:p>
        </p:txBody>
      </p:sp>
      <p:sp>
        <p:nvSpPr>
          <p:cNvPr id="133" name="iślîďè">
            <a:extLst>
              <a:ext uri="{FF2B5EF4-FFF2-40B4-BE49-F238E27FC236}">
                <a16:creationId xmlns:a16="http://schemas.microsoft.com/office/drawing/2014/main" id="{E848FC07-24A7-4586-B10D-71B833C66F38}"/>
              </a:ext>
            </a:extLst>
          </p:cNvPr>
          <p:cNvSpPr txBox="1"/>
          <p:nvPr/>
        </p:nvSpPr>
        <p:spPr>
          <a:xfrm>
            <a:off x="1366139" y="4981722"/>
            <a:ext cx="3002661" cy="70520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</a:t>
            </a:r>
            <a:r>
              <a:rPr lang="en-US" altLang="zh-CN" sz="300" dirty="0"/>
              <a:t> </a:t>
            </a:r>
            <a:r>
              <a:rPr lang="en-US" altLang="zh-CN" sz="1100" dirty="0"/>
              <a:t> Choose the only option to retain text……</a:t>
            </a:r>
          </a:p>
        </p:txBody>
      </p:sp>
      <p:sp>
        <p:nvSpPr>
          <p:cNvPr id="134" name="íṣḻíḑé">
            <a:extLst>
              <a:ext uri="{FF2B5EF4-FFF2-40B4-BE49-F238E27FC236}">
                <a16:creationId xmlns:a16="http://schemas.microsoft.com/office/drawing/2014/main" id="{3E72FA12-A540-4D32-8EB8-13380C0E69F9}"/>
              </a:ext>
            </a:extLst>
          </p:cNvPr>
          <p:cNvSpPr txBox="1"/>
          <p:nvPr/>
        </p:nvSpPr>
        <p:spPr>
          <a:xfrm>
            <a:off x="5698064" y="1890679"/>
            <a:ext cx="1817982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de-DE" b="1" dirty="0"/>
              <a:t>Text here</a:t>
            </a:r>
          </a:p>
        </p:txBody>
      </p:sp>
      <p:sp>
        <p:nvSpPr>
          <p:cNvPr id="135" name="íṥļïdè">
            <a:extLst>
              <a:ext uri="{FF2B5EF4-FFF2-40B4-BE49-F238E27FC236}">
                <a16:creationId xmlns:a16="http://schemas.microsoft.com/office/drawing/2014/main" id="{A5CDF4C6-C4A0-49AD-8CA1-EB213CC3B4CD}"/>
              </a:ext>
            </a:extLst>
          </p:cNvPr>
          <p:cNvSpPr txBox="1"/>
          <p:nvPr/>
        </p:nvSpPr>
        <p:spPr>
          <a:xfrm>
            <a:off x="5698064" y="2330096"/>
            <a:ext cx="3002661" cy="70520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</a:t>
            </a:r>
            <a:r>
              <a:rPr lang="en-US" altLang="zh-CN" sz="300" dirty="0"/>
              <a:t> </a:t>
            </a:r>
            <a:r>
              <a:rPr lang="en-US" altLang="zh-CN" sz="1100" dirty="0"/>
              <a:t> Choose the only option to retain text……</a:t>
            </a:r>
          </a:p>
        </p:txBody>
      </p:sp>
      <p:sp>
        <p:nvSpPr>
          <p:cNvPr id="142" name="îşlíḍè">
            <a:extLst>
              <a:ext uri="{FF2B5EF4-FFF2-40B4-BE49-F238E27FC236}">
                <a16:creationId xmlns:a16="http://schemas.microsoft.com/office/drawing/2014/main" id="{D645C13D-9870-4031-B77B-90555EC99901}"/>
              </a:ext>
            </a:extLst>
          </p:cNvPr>
          <p:cNvSpPr txBox="1"/>
          <p:nvPr/>
        </p:nvSpPr>
        <p:spPr>
          <a:xfrm>
            <a:off x="5698064" y="3253815"/>
            <a:ext cx="1817982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de-DE" b="1" dirty="0"/>
              <a:t>Text here</a:t>
            </a:r>
          </a:p>
        </p:txBody>
      </p:sp>
      <p:sp>
        <p:nvSpPr>
          <p:cNvPr id="143" name="i$ľidè">
            <a:extLst>
              <a:ext uri="{FF2B5EF4-FFF2-40B4-BE49-F238E27FC236}">
                <a16:creationId xmlns:a16="http://schemas.microsoft.com/office/drawing/2014/main" id="{0C9687E7-81BE-4C61-AB5A-4F4E23EBE3E0}"/>
              </a:ext>
            </a:extLst>
          </p:cNvPr>
          <p:cNvSpPr txBox="1"/>
          <p:nvPr/>
        </p:nvSpPr>
        <p:spPr>
          <a:xfrm>
            <a:off x="5698064" y="3693232"/>
            <a:ext cx="3002661" cy="70520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</a:t>
            </a:r>
            <a:r>
              <a:rPr lang="en-US" altLang="zh-CN" sz="300" dirty="0"/>
              <a:t> </a:t>
            </a:r>
            <a:r>
              <a:rPr lang="en-US" altLang="zh-CN" sz="1100" dirty="0"/>
              <a:t> Choose the only option to retain text……</a:t>
            </a:r>
          </a:p>
        </p:txBody>
      </p:sp>
      <p:sp>
        <p:nvSpPr>
          <p:cNvPr id="144" name="ïśļiḍé">
            <a:extLst>
              <a:ext uri="{FF2B5EF4-FFF2-40B4-BE49-F238E27FC236}">
                <a16:creationId xmlns:a16="http://schemas.microsoft.com/office/drawing/2014/main" id="{7211A734-D2E1-4115-9A2E-D7ACA2C566F4}"/>
              </a:ext>
            </a:extLst>
          </p:cNvPr>
          <p:cNvSpPr txBox="1"/>
          <p:nvPr/>
        </p:nvSpPr>
        <p:spPr>
          <a:xfrm>
            <a:off x="5698064" y="4616951"/>
            <a:ext cx="1817982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de-DE" b="1" dirty="0"/>
              <a:t>Text here</a:t>
            </a:r>
          </a:p>
        </p:txBody>
      </p:sp>
      <p:sp>
        <p:nvSpPr>
          <p:cNvPr id="145" name="ísḻíďé">
            <a:extLst>
              <a:ext uri="{FF2B5EF4-FFF2-40B4-BE49-F238E27FC236}">
                <a16:creationId xmlns:a16="http://schemas.microsoft.com/office/drawing/2014/main" id="{1021EC4C-70CB-4A89-BFD3-224375413263}"/>
              </a:ext>
            </a:extLst>
          </p:cNvPr>
          <p:cNvSpPr txBox="1"/>
          <p:nvPr/>
        </p:nvSpPr>
        <p:spPr>
          <a:xfrm>
            <a:off x="5698064" y="5056368"/>
            <a:ext cx="3002661" cy="70520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</a:t>
            </a:r>
            <a:r>
              <a:rPr lang="en-US" altLang="zh-CN" sz="300" dirty="0"/>
              <a:t> </a:t>
            </a:r>
            <a:r>
              <a:rPr lang="en-US" altLang="zh-CN" sz="1100" dirty="0"/>
              <a:t> Choose the only option to retain text……</a:t>
            </a:r>
          </a:p>
        </p:txBody>
      </p:sp>
      <p:sp>
        <p:nvSpPr>
          <p:cNvPr id="7" name="îṧḻïďe">
            <a:extLst>
              <a:ext uri="{FF2B5EF4-FFF2-40B4-BE49-F238E27FC236}">
                <a16:creationId xmlns:a16="http://schemas.microsoft.com/office/drawing/2014/main" id="{436C2970-C926-4C12-8B15-3CBF315A7092}"/>
              </a:ext>
            </a:extLst>
          </p:cNvPr>
          <p:cNvSpPr/>
          <p:nvPr/>
        </p:nvSpPr>
        <p:spPr>
          <a:xfrm>
            <a:off x="766166" y="2110387"/>
            <a:ext cx="518055" cy="518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r>
              <a:rPr lang="en-US" altLang="zh-CN" b="1" dirty="0"/>
              <a:t>01</a:t>
            </a:r>
            <a:endParaRPr lang="zh-CN" altLang="en-US" b="1" dirty="0"/>
          </a:p>
        </p:txBody>
      </p:sp>
      <p:sp>
        <p:nvSpPr>
          <p:cNvPr id="35" name="ïšḷîde">
            <a:extLst>
              <a:ext uri="{FF2B5EF4-FFF2-40B4-BE49-F238E27FC236}">
                <a16:creationId xmlns:a16="http://schemas.microsoft.com/office/drawing/2014/main" id="{4B8FE5F3-FB7F-45FB-BD29-C8E5629B0501}"/>
              </a:ext>
            </a:extLst>
          </p:cNvPr>
          <p:cNvSpPr/>
          <p:nvPr/>
        </p:nvSpPr>
        <p:spPr>
          <a:xfrm>
            <a:off x="766166" y="3385360"/>
            <a:ext cx="518055" cy="518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r>
              <a:rPr lang="en-US" altLang="zh-CN" b="1" dirty="0"/>
              <a:t>02</a:t>
            </a:r>
            <a:endParaRPr lang="zh-CN" altLang="en-US" b="1" dirty="0"/>
          </a:p>
        </p:txBody>
      </p:sp>
      <p:sp>
        <p:nvSpPr>
          <p:cNvPr id="36" name="íŝḻïḍé">
            <a:extLst>
              <a:ext uri="{FF2B5EF4-FFF2-40B4-BE49-F238E27FC236}">
                <a16:creationId xmlns:a16="http://schemas.microsoft.com/office/drawing/2014/main" id="{6395D0BC-5882-4655-97F3-5AE591BB51A4}"/>
              </a:ext>
            </a:extLst>
          </p:cNvPr>
          <p:cNvSpPr/>
          <p:nvPr/>
        </p:nvSpPr>
        <p:spPr>
          <a:xfrm>
            <a:off x="766166" y="4660333"/>
            <a:ext cx="518055" cy="518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r>
              <a:rPr lang="en-US" altLang="zh-CN" b="1" dirty="0"/>
              <a:t>03</a:t>
            </a:r>
            <a:endParaRPr lang="zh-CN" altLang="en-US" b="1" dirty="0"/>
          </a:p>
        </p:txBody>
      </p:sp>
      <p:sp>
        <p:nvSpPr>
          <p:cNvPr id="37" name="iṡļîḍè">
            <a:extLst>
              <a:ext uri="{FF2B5EF4-FFF2-40B4-BE49-F238E27FC236}">
                <a16:creationId xmlns:a16="http://schemas.microsoft.com/office/drawing/2014/main" id="{CBD0D0EF-9F2D-455F-9EE3-5FA04873EC1E}"/>
              </a:ext>
            </a:extLst>
          </p:cNvPr>
          <p:cNvSpPr/>
          <p:nvPr/>
        </p:nvSpPr>
        <p:spPr>
          <a:xfrm>
            <a:off x="5103952" y="2110387"/>
            <a:ext cx="518055" cy="5180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r>
              <a:rPr lang="en-US" altLang="zh-CN" b="1" dirty="0"/>
              <a:t>04</a:t>
            </a:r>
            <a:endParaRPr lang="zh-CN" altLang="en-US" b="1" dirty="0"/>
          </a:p>
        </p:txBody>
      </p:sp>
      <p:sp>
        <p:nvSpPr>
          <p:cNvPr id="38" name="ïś1ïḑe">
            <a:extLst>
              <a:ext uri="{FF2B5EF4-FFF2-40B4-BE49-F238E27FC236}">
                <a16:creationId xmlns:a16="http://schemas.microsoft.com/office/drawing/2014/main" id="{5A225506-7043-4EBF-845E-DC70EA47FC7A}"/>
              </a:ext>
            </a:extLst>
          </p:cNvPr>
          <p:cNvSpPr/>
          <p:nvPr/>
        </p:nvSpPr>
        <p:spPr>
          <a:xfrm>
            <a:off x="5103952" y="3385359"/>
            <a:ext cx="518055" cy="5180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r>
              <a:rPr lang="en-US" altLang="zh-CN" b="1" dirty="0"/>
              <a:t>05</a:t>
            </a:r>
            <a:endParaRPr lang="zh-CN" altLang="en-US" b="1" dirty="0"/>
          </a:p>
        </p:txBody>
      </p:sp>
      <p:sp>
        <p:nvSpPr>
          <p:cNvPr id="39" name="íś1îďé">
            <a:extLst>
              <a:ext uri="{FF2B5EF4-FFF2-40B4-BE49-F238E27FC236}">
                <a16:creationId xmlns:a16="http://schemas.microsoft.com/office/drawing/2014/main" id="{AF5E7AD4-8DEA-4FA3-A506-9F09384C0C9D}"/>
              </a:ext>
            </a:extLst>
          </p:cNvPr>
          <p:cNvSpPr/>
          <p:nvPr/>
        </p:nvSpPr>
        <p:spPr>
          <a:xfrm>
            <a:off x="5103951" y="4660332"/>
            <a:ext cx="518055" cy="5180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r>
              <a:rPr lang="en-US" altLang="zh-CN" b="1" dirty="0"/>
              <a:t>06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4599570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ľî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śḷïḑê">
            <a:extLst>
              <a:ext uri="{FF2B5EF4-FFF2-40B4-BE49-F238E27FC236}">
                <a16:creationId xmlns:a16="http://schemas.microsoft.com/office/drawing/2014/main" id="{F327050D-3BE2-4173-8B7B-69516A5E9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Sľïdê">
            <a:extLst>
              <a:ext uri="{FF2B5EF4-FFF2-40B4-BE49-F238E27FC236}">
                <a16:creationId xmlns:a16="http://schemas.microsoft.com/office/drawing/2014/main" id="{D2C9FC41-D882-4941-BB3B-7CF492F70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$ļîďê">
            <a:extLst>
              <a:ext uri="{FF2B5EF4-FFF2-40B4-BE49-F238E27FC236}">
                <a16:creationId xmlns:a16="http://schemas.microsoft.com/office/drawing/2014/main" id="{F2D0572D-F9B2-4446-8E6A-EAC33A2262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180" name="i$ḻîďê">
            <a:extLst>
              <a:ext uri="{FF2B5EF4-FFF2-40B4-BE49-F238E27FC236}">
                <a16:creationId xmlns:a16="http://schemas.microsoft.com/office/drawing/2014/main" id="{21E04952-41C0-4B14-BD81-C843C9314DFC}"/>
              </a:ext>
            </a:extLst>
          </p:cNvPr>
          <p:cNvSpPr/>
          <p:nvPr/>
        </p:nvSpPr>
        <p:spPr>
          <a:xfrm>
            <a:off x="3124063" y="2640625"/>
            <a:ext cx="8396425" cy="1792072"/>
          </a:xfrm>
          <a:prstGeom prst="roundRect">
            <a:avLst>
              <a:gd name="adj" fmla="val 5585"/>
            </a:avLst>
          </a:prstGeom>
          <a:blipFill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81" name="îṥļiḓê">
            <a:extLst>
              <a:ext uri="{FF2B5EF4-FFF2-40B4-BE49-F238E27FC236}">
                <a16:creationId xmlns:a16="http://schemas.microsoft.com/office/drawing/2014/main" id="{7F60C703-9576-4E45-A569-36597A6D945C}"/>
              </a:ext>
            </a:extLst>
          </p:cNvPr>
          <p:cNvSpPr/>
          <p:nvPr/>
        </p:nvSpPr>
        <p:spPr>
          <a:xfrm>
            <a:off x="669924" y="2492807"/>
            <a:ext cx="2761544" cy="2087706"/>
          </a:xfrm>
          <a:prstGeom prst="roundRect">
            <a:avLst>
              <a:gd name="adj" fmla="val 5357"/>
            </a:avLst>
          </a:prstGeom>
          <a:solidFill>
            <a:schemeClr val="accent1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grpSp>
        <p:nvGrpSpPr>
          <p:cNvPr id="160" name="îŝļiḑé">
            <a:extLst>
              <a:ext uri="{FF2B5EF4-FFF2-40B4-BE49-F238E27FC236}">
                <a16:creationId xmlns:a16="http://schemas.microsoft.com/office/drawing/2014/main" id="{4F2D8A10-0950-42F9-BF1C-80C39B539A9E}"/>
              </a:ext>
            </a:extLst>
          </p:cNvPr>
          <p:cNvGrpSpPr/>
          <p:nvPr/>
        </p:nvGrpSpPr>
        <p:grpSpPr>
          <a:xfrm>
            <a:off x="990600" y="2757361"/>
            <a:ext cx="2381600" cy="1567650"/>
            <a:chOff x="1271573" y="3066397"/>
            <a:chExt cx="3206423" cy="1567650"/>
          </a:xfrm>
        </p:grpSpPr>
        <p:sp>
          <p:nvSpPr>
            <p:cNvPr id="178" name="í$ḷíḓé">
              <a:extLst>
                <a:ext uri="{FF2B5EF4-FFF2-40B4-BE49-F238E27FC236}">
                  <a16:creationId xmlns:a16="http://schemas.microsoft.com/office/drawing/2014/main" id="{A2BDF754-2D85-4BCD-88BA-74AE057121A8}"/>
                </a:ext>
              </a:extLst>
            </p:cNvPr>
            <p:cNvSpPr txBox="1"/>
            <p:nvPr/>
          </p:nvSpPr>
          <p:spPr>
            <a:xfrm>
              <a:off x="1271573" y="3066397"/>
              <a:ext cx="3206423" cy="48286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3765">
                <a:buSzPct val="25000"/>
                <a:defRPr/>
              </a:pPr>
              <a:r>
                <a:rPr lang="en-US" altLang="zh-CN" b="1" dirty="0">
                  <a:solidFill>
                    <a:schemeClr val="bg1"/>
                  </a:solidFill>
                </a:rPr>
                <a:t>Text here</a:t>
              </a:r>
            </a:p>
          </p:txBody>
        </p:sp>
        <p:sp>
          <p:nvSpPr>
            <p:cNvPr id="179" name="íṧ1ïḑê">
              <a:extLst>
                <a:ext uri="{FF2B5EF4-FFF2-40B4-BE49-F238E27FC236}">
                  <a16:creationId xmlns:a16="http://schemas.microsoft.com/office/drawing/2014/main" id="{28D24611-5C0F-4464-89D7-DAC4828D9D2D}"/>
                </a:ext>
              </a:extLst>
            </p:cNvPr>
            <p:cNvSpPr/>
            <p:nvPr/>
          </p:nvSpPr>
          <p:spPr bwMode="auto">
            <a:xfrm>
              <a:off x="1271573" y="3549263"/>
              <a:ext cx="3206423" cy="1084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.</a:t>
              </a:r>
            </a:p>
            <a:p>
              <a:endParaRPr lang="en-US" altLang="zh-CN" sz="1100" dirty="0">
                <a:solidFill>
                  <a:schemeClr val="bg1"/>
                </a:solidFill>
              </a:endParaRPr>
            </a:p>
            <a:p>
              <a:r>
                <a:rPr lang="en-US" altLang="zh-CN" sz="1100" dirty="0">
                  <a:solidFill>
                    <a:schemeClr val="bg1"/>
                  </a:solidFill>
                </a:rPr>
                <a:t>……</a:t>
              </a:r>
            </a:p>
          </p:txBody>
        </p:sp>
      </p:grpSp>
      <p:sp>
        <p:nvSpPr>
          <p:cNvPr id="161" name="ïSļíḍé">
            <a:extLst>
              <a:ext uri="{FF2B5EF4-FFF2-40B4-BE49-F238E27FC236}">
                <a16:creationId xmlns:a16="http://schemas.microsoft.com/office/drawing/2014/main" id="{A89CD62D-4213-4581-B6EA-A068806FB869}"/>
              </a:ext>
            </a:extLst>
          </p:cNvPr>
          <p:cNvSpPr/>
          <p:nvPr/>
        </p:nvSpPr>
        <p:spPr bwMode="auto">
          <a:xfrm>
            <a:off x="3545195" y="4772089"/>
            <a:ext cx="2309506" cy="833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dirty="0"/>
              <a:t>Copy paste fonts. Choose the only option to retain text.</a:t>
            </a:r>
          </a:p>
          <a:p>
            <a:pPr algn="ctr"/>
            <a:r>
              <a:rPr lang="en-US" altLang="zh-CN" sz="1100" dirty="0"/>
              <a:t>……</a:t>
            </a:r>
          </a:p>
        </p:txBody>
      </p:sp>
      <p:sp>
        <p:nvSpPr>
          <p:cNvPr id="162" name="îṧľiḋe">
            <a:extLst>
              <a:ext uri="{FF2B5EF4-FFF2-40B4-BE49-F238E27FC236}">
                <a16:creationId xmlns:a16="http://schemas.microsoft.com/office/drawing/2014/main" id="{F0E1B66C-8574-452A-B5E1-C8CCE035E1D3}"/>
              </a:ext>
            </a:extLst>
          </p:cNvPr>
          <p:cNvSpPr/>
          <p:nvPr/>
        </p:nvSpPr>
        <p:spPr bwMode="auto">
          <a:xfrm>
            <a:off x="6455896" y="4772089"/>
            <a:ext cx="2309506" cy="833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dirty="0"/>
              <a:t>Copy paste fonts. Choose the only option to retain text.</a:t>
            </a:r>
          </a:p>
          <a:p>
            <a:pPr algn="ctr"/>
            <a:r>
              <a:rPr lang="en-US" altLang="zh-CN" sz="1100" dirty="0"/>
              <a:t>……</a:t>
            </a:r>
          </a:p>
        </p:txBody>
      </p:sp>
      <p:sp>
        <p:nvSpPr>
          <p:cNvPr id="163" name="išlîḋè">
            <a:extLst>
              <a:ext uri="{FF2B5EF4-FFF2-40B4-BE49-F238E27FC236}">
                <a16:creationId xmlns:a16="http://schemas.microsoft.com/office/drawing/2014/main" id="{2E2D13AF-8328-4A1E-A5C9-2A97A7BF6696}"/>
              </a:ext>
            </a:extLst>
          </p:cNvPr>
          <p:cNvSpPr/>
          <p:nvPr/>
        </p:nvSpPr>
        <p:spPr bwMode="auto">
          <a:xfrm>
            <a:off x="9187651" y="4772089"/>
            <a:ext cx="2309506" cy="833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100" dirty="0"/>
              <a:t>Copy paste fonts. Choose the only option to retain text.</a:t>
            </a:r>
          </a:p>
          <a:p>
            <a:pPr algn="ctr"/>
            <a:r>
              <a:rPr lang="en-US" altLang="zh-CN" sz="1100" dirty="0"/>
              <a:t>……</a:t>
            </a:r>
          </a:p>
        </p:txBody>
      </p:sp>
      <p:cxnSp>
        <p:nvCxnSpPr>
          <p:cNvPr id="164" name="íŝḷïḋé">
            <a:extLst>
              <a:ext uri="{FF2B5EF4-FFF2-40B4-BE49-F238E27FC236}">
                <a16:creationId xmlns:a16="http://schemas.microsoft.com/office/drawing/2014/main" id="{EFF40488-D7D8-41B3-BAFF-A368B30C5FC4}"/>
              </a:ext>
            </a:extLst>
          </p:cNvPr>
          <p:cNvCxnSpPr>
            <a:cxnSpLocks/>
          </p:cNvCxnSpPr>
          <p:nvPr/>
        </p:nvCxnSpPr>
        <p:spPr>
          <a:xfrm>
            <a:off x="6155299" y="2640625"/>
            <a:ext cx="0" cy="1792072"/>
          </a:xfrm>
          <a:prstGeom prst="line">
            <a:avLst/>
          </a:prstGeom>
          <a:ln w="285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iṧľiḍe">
            <a:extLst>
              <a:ext uri="{FF2B5EF4-FFF2-40B4-BE49-F238E27FC236}">
                <a16:creationId xmlns:a16="http://schemas.microsoft.com/office/drawing/2014/main" id="{BFCADAC4-F27E-4CBC-954D-D162A442A1E7}"/>
              </a:ext>
            </a:extLst>
          </p:cNvPr>
          <p:cNvSpPr/>
          <p:nvPr/>
        </p:nvSpPr>
        <p:spPr bwMode="auto">
          <a:xfrm>
            <a:off x="4364348" y="2293123"/>
            <a:ext cx="671202" cy="6712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8" name="îŝ1ïḋé">
            <a:extLst>
              <a:ext uri="{FF2B5EF4-FFF2-40B4-BE49-F238E27FC236}">
                <a16:creationId xmlns:a16="http://schemas.microsoft.com/office/drawing/2014/main" id="{F503AACA-D28B-4C5B-B4BF-D597A55F8B3E}"/>
              </a:ext>
            </a:extLst>
          </p:cNvPr>
          <p:cNvSpPr/>
          <p:nvPr/>
        </p:nvSpPr>
        <p:spPr bwMode="auto">
          <a:xfrm>
            <a:off x="4592596" y="2482178"/>
            <a:ext cx="214706" cy="293091"/>
          </a:xfrm>
          <a:custGeom>
            <a:avLst/>
            <a:gdLst>
              <a:gd name="T0" fmla="*/ 36 w 160"/>
              <a:gd name="T1" fmla="*/ 16 h 216"/>
              <a:gd name="T2" fmla="*/ 36 w 160"/>
              <a:gd name="T3" fmla="*/ 24 h 216"/>
              <a:gd name="T4" fmla="*/ 51 w 160"/>
              <a:gd name="T5" fmla="*/ 40 h 216"/>
              <a:gd name="T6" fmla="*/ 52 w 160"/>
              <a:gd name="T7" fmla="*/ 40 h 216"/>
              <a:gd name="T8" fmla="*/ 108 w 160"/>
              <a:gd name="T9" fmla="*/ 40 h 216"/>
              <a:gd name="T10" fmla="*/ 124 w 160"/>
              <a:gd name="T11" fmla="*/ 25 h 216"/>
              <a:gd name="T12" fmla="*/ 124 w 160"/>
              <a:gd name="T13" fmla="*/ 24 h 216"/>
              <a:gd name="T14" fmla="*/ 124 w 160"/>
              <a:gd name="T15" fmla="*/ 16 h 216"/>
              <a:gd name="T16" fmla="*/ 148 w 160"/>
              <a:gd name="T17" fmla="*/ 16 h 216"/>
              <a:gd name="T18" fmla="*/ 160 w 160"/>
              <a:gd name="T19" fmla="*/ 28 h 216"/>
              <a:gd name="T20" fmla="*/ 160 w 160"/>
              <a:gd name="T21" fmla="*/ 204 h 216"/>
              <a:gd name="T22" fmla="*/ 148 w 160"/>
              <a:gd name="T23" fmla="*/ 216 h 216"/>
              <a:gd name="T24" fmla="*/ 12 w 160"/>
              <a:gd name="T25" fmla="*/ 216 h 216"/>
              <a:gd name="T26" fmla="*/ 0 w 160"/>
              <a:gd name="T27" fmla="*/ 204 h 216"/>
              <a:gd name="T28" fmla="*/ 0 w 160"/>
              <a:gd name="T29" fmla="*/ 28 h 216"/>
              <a:gd name="T30" fmla="*/ 12 w 160"/>
              <a:gd name="T31" fmla="*/ 16 h 216"/>
              <a:gd name="T32" fmla="*/ 36 w 160"/>
              <a:gd name="T33" fmla="*/ 16 h 216"/>
              <a:gd name="T34" fmla="*/ 80 w 160"/>
              <a:gd name="T35" fmla="*/ 140 h 216"/>
              <a:gd name="T36" fmla="*/ 32 w 160"/>
              <a:gd name="T37" fmla="*/ 140 h 216"/>
              <a:gd name="T38" fmla="*/ 32 w 160"/>
              <a:gd name="T39" fmla="*/ 148 h 216"/>
              <a:gd name="T40" fmla="*/ 80 w 160"/>
              <a:gd name="T41" fmla="*/ 148 h 216"/>
              <a:gd name="T42" fmla="*/ 80 w 160"/>
              <a:gd name="T43" fmla="*/ 140 h 216"/>
              <a:gd name="T44" fmla="*/ 128 w 160"/>
              <a:gd name="T45" fmla="*/ 108 h 216"/>
              <a:gd name="T46" fmla="*/ 32 w 160"/>
              <a:gd name="T47" fmla="*/ 108 h 216"/>
              <a:gd name="T48" fmla="*/ 32 w 160"/>
              <a:gd name="T49" fmla="*/ 116 h 216"/>
              <a:gd name="T50" fmla="*/ 128 w 160"/>
              <a:gd name="T51" fmla="*/ 116 h 216"/>
              <a:gd name="T52" fmla="*/ 128 w 160"/>
              <a:gd name="T53" fmla="*/ 108 h 216"/>
              <a:gd name="T54" fmla="*/ 128 w 160"/>
              <a:gd name="T55" fmla="*/ 76 h 216"/>
              <a:gd name="T56" fmla="*/ 32 w 160"/>
              <a:gd name="T57" fmla="*/ 76 h 216"/>
              <a:gd name="T58" fmla="*/ 32 w 160"/>
              <a:gd name="T59" fmla="*/ 84 h 216"/>
              <a:gd name="T60" fmla="*/ 128 w 160"/>
              <a:gd name="T61" fmla="*/ 84 h 216"/>
              <a:gd name="T62" fmla="*/ 128 w 160"/>
              <a:gd name="T63" fmla="*/ 76 h 216"/>
              <a:gd name="T64" fmla="*/ 104 w 160"/>
              <a:gd name="T65" fmla="*/ 0 h 216"/>
              <a:gd name="T66" fmla="*/ 116 w 160"/>
              <a:gd name="T67" fmla="*/ 12 h 216"/>
              <a:gd name="T68" fmla="*/ 116 w 160"/>
              <a:gd name="T69" fmla="*/ 20 h 216"/>
              <a:gd name="T70" fmla="*/ 104 w 160"/>
              <a:gd name="T71" fmla="*/ 32 h 216"/>
              <a:gd name="T72" fmla="*/ 56 w 160"/>
              <a:gd name="T73" fmla="*/ 32 h 216"/>
              <a:gd name="T74" fmla="*/ 44 w 160"/>
              <a:gd name="T75" fmla="*/ 20 h 216"/>
              <a:gd name="T76" fmla="*/ 44 w 160"/>
              <a:gd name="T77" fmla="*/ 12 h 216"/>
              <a:gd name="T78" fmla="*/ 56 w 160"/>
              <a:gd name="T79" fmla="*/ 0 h 216"/>
              <a:gd name="T80" fmla="*/ 104 w 160"/>
              <a:gd name="T8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" h="216">
                <a:moveTo>
                  <a:pt x="36" y="16"/>
                </a:moveTo>
                <a:cubicBezTo>
                  <a:pt x="36" y="24"/>
                  <a:pt x="36" y="24"/>
                  <a:pt x="36" y="24"/>
                </a:cubicBezTo>
                <a:cubicBezTo>
                  <a:pt x="36" y="33"/>
                  <a:pt x="43" y="40"/>
                  <a:pt x="51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108" y="40"/>
                  <a:pt x="108" y="40"/>
                  <a:pt x="108" y="40"/>
                </a:cubicBezTo>
                <a:cubicBezTo>
                  <a:pt x="117" y="40"/>
                  <a:pt x="124" y="33"/>
                  <a:pt x="124" y="25"/>
                </a:cubicBezTo>
                <a:cubicBezTo>
                  <a:pt x="124" y="24"/>
                  <a:pt x="124" y="24"/>
                  <a:pt x="124" y="24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48" y="16"/>
                  <a:pt x="148" y="16"/>
                  <a:pt x="148" y="16"/>
                </a:cubicBezTo>
                <a:cubicBezTo>
                  <a:pt x="155" y="16"/>
                  <a:pt x="160" y="21"/>
                  <a:pt x="160" y="28"/>
                </a:cubicBezTo>
                <a:cubicBezTo>
                  <a:pt x="160" y="204"/>
                  <a:pt x="160" y="204"/>
                  <a:pt x="160" y="204"/>
                </a:cubicBezTo>
                <a:cubicBezTo>
                  <a:pt x="160" y="211"/>
                  <a:pt x="155" y="216"/>
                  <a:pt x="148" y="216"/>
                </a:cubicBezTo>
                <a:cubicBezTo>
                  <a:pt x="12" y="216"/>
                  <a:pt x="12" y="216"/>
                  <a:pt x="12" y="216"/>
                </a:cubicBezTo>
                <a:cubicBezTo>
                  <a:pt x="5" y="216"/>
                  <a:pt x="0" y="211"/>
                  <a:pt x="0" y="20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1"/>
                  <a:pt x="5" y="16"/>
                  <a:pt x="12" y="16"/>
                </a:cubicBezTo>
                <a:lnTo>
                  <a:pt x="36" y="16"/>
                </a:lnTo>
                <a:close/>
                <a:moveTo>
                  <a:pt x="80" y="140"/>
                </a:moveTo>
                <a:cubicBezTo>
                  <a:pt x="32" y="140"/>
                  <a:pt x="32" y="140"/>
                  <a:pt x="32" y="140"/>
                </a:cubicBezTo>
                <a:cubicBezTo>
                  <a:pt x="32" y="148"/>
                  <a:pt x="32" y="148"/>
                  <a:pt x="32" y="148"/>
                </a:cubicBezTo>
                <a:cubicBezTo>
                  <a:pt x="80" y="148"/>
                  <a:pt x="80" y="148"/>
                  <a:pt x="80" y="148"/>
                </a:cubicBezTo>
                <a:lnTo>
                  <a:pt x="80" y="140"/>
                </a:lnTo>
                <a:close/>
                <a:moveTo>
                  <a:pt x="128" y="108"/>
                </a:moveTo>
                <a:cubicBezTo>
                  <a:pt x="32" y="108"/>
                  <a:pt x="32" y="108"/>
                  <a:pt x="32" y="108"/>
                </a:cubicBezTo>
                <a:cubicBezTo>
                  <a:pt x="32" y="116"/>
                  <a:pt x="32" y="116"/>
                  <a:pt x="32" y="116"/>
                </a:cubicBezTo>
                <a:cubicBezTo>
                  <a:pt x="128" y="116"/>
                  <a:pt x="128" y="116"/>
                  <a:pt x="128" y="116"/>
                </a:cubicBezTo>
                <a:lnTo>
                  <a:pt x="128" y="108"/>
                </a:lnTo>
                <a:close/>
                <a:moveTo>
                  <a:pt x="128" y="76"/>
                </a:moveTo>
                <a:cubicBezTo>
                  <a:pt x="32" y="76"/>
                  <a:pt x="32" y="76"/>
                  <a:pt x="32" y="76"/>
                </a:cubicBezTo>
                <a:cubicBezTo>
                  <a:pt x="32" y="84"/>
                  <a:pt x="32" y="84"/>
                  <a:pt x="32" y="84"/>
                </a:cubicBezTo>
                <a:cubicBezTo>
                  <a:pt x="128" y="84"/>
                  <a:pt x="128" y="84"/>
                  <a:pt x="128" y="84"/>
                </a:cubicBezTo>
                <a:lnTo>
                  <a:pt x="128" y="76"/>
                </a:lnTo>
                <a:close/>
                <a:moveTo>
                  <a:pt x="104" y="0"/>
                </a:moveTo>
                <a:cubicBezTo>
                  <a:pt x="111" y="0"/>
                  <a:pt x="116" y="5"/>
                  <a:pt x="116" y="12"/>
                </a:cubicBezTo>
                <a:cubicBezTo>
                  <a:pt x="116" y="20"/>
                  <a:pt x="116" y="20"/>
                  <a:pt x="116" y="20"/>
                </a:cubicBezTo>
                <a:cubicBezTo>
                  <a:pt x="116" y="27"/>
                  <a:pt x="111" y="32"/>
                  <a:pt x="104" y="32"/>
                </a:cubicBezTo>
                <a:cubicBezTo>
                  <a:pt x="56" y="32"/>
                  <a:pt x="56" y="32"/>
                  <a:pt x="56" y="32"/>
                </a:cubicBezTo>
                <a:cubicBezTo>
                  <a:pt x="49" y="32"/>
                  <a:pt x="44" y="27"/>
                  <a:pt x="44" y="20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5"/>
                  <a:pt x="49" y="0"/>
                  <a:pt x="56" y="0"/>
                </a:cubicBezTo>
                <a:lnTo>
                  <a:pt x="10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4" name="íslïḑê">
            <a:extLst>
              <a:ext uri="{FF2B5EF4-FFF2-40B4-BE49-F238E27FC236}">
                <a16:creationId xmlns:a16="http://schemas.microsoft.com/office/drawing/2014/main" id="{BC6FDCE9-646F-44B6-A806-A9E497026124}"/>
              </a:ext>
            </a:extLst>
          </p:cNvPr>
          <p:cNvSpPr/>
          <p:nvPr/>
        </p:nvSpPr>
        <p:spPr bwMode="auto">
          <a:xfrm>
            <a:off x="7275049" y="2293123"/>
            <a:ext cx="671202" cy="6712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9" name="íṡḻîdê">
            <a:extLst>
              <a:ext uri="{FF2B5EF4-FFF2-40B4-BE49-F238E27FC236}">
                <a16:creationId xmlns:a16="http://schemas.microsoft.com/office/drawing/2014/main" id="{B19E5D60-3098-4A60-BEEB-C4772FEF6A44}"/>
              </a:ext>
            </a:extLst>
          </p:cNvPr>
          <p:cNvSpPr/>
          <p:nvPr/>
        </p:nvSpPr>
        <p:spPr bwMode="auto">
          <a:xfrm>
            <a:off x="7464105" y="2483834"/>
            <a:ext cx="293091" cy="289779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2" name="íŝľïḍê">
            <a:extLst>
              <a:ext uri="{FF2B5EF4-FFF2-40B4-BE49-F238E27FC236}">
                <a16:creationId xmlns:a16="http://schemas.microsoft.com/office/drawing/2014/main" id="{A521FE2B-13BB-4B6A-B8E2-C479E39DED4B}"/>
              </a:ext>
            </a:extLst>
          </p:cNvPr>
          <p:cNvSpPr/>
          <p:nvPr/>
        </p:nvSpPr>
        <p:spPr bwMode="auto">
          <a:xfrm>
            <a:off x="10006807" y="2293123"/>
            <a:ext cx="671202" cy="67120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40" name="iSḻïḋé">
            <a:extLst>
              <a:ext uri="{FF2B5EF4-FFF2-40B4-BE49-F238E27FC236}">
                <a16:creationId xmlns:a16="http://schemas.microsoft.com/office/drawing/2014/main" id="{4DE63DBF-E93B-4897-AD3E-71917BA993AA}"/>
              </a:ext>
            </a:extLst>
          </p:cNvPr>
          <p:cNvSpPr/>
          <p:nvPr/>
        </p:nvSpPr>
        <p:spPr bwMode="auto">
          <a:xfrm>
            <a:off x="10195863" y="2510625"/>
            <a:ext cx="293091" cy="236196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cxnSp>
        <p:nvCxnSpPr>
          <p:cNvPr id="168" name="iṡľiḍé">
            <a:extLst>
              <a:ext uri="{FF2B5EF4-FFF2-40B4-BE49-F238E27FC236}">
                <a16:creationId xmlns:a16="http://schemas.microsoft.com/office/drawing/2014/main" id="{EAD7E43C-59BC-4E09-A0DB-28616D4CF56F}"/>
              </a:ext>
            </a:extLst>
          </p:cNvPr>
          <p:cNvCxnSpPr>
            <a:cxnSpLocks/>
          </p:cNvCxnSpPr>
          <p:nvPr/>
        </p:nvCxnSpPr>
        <p:spPr>
          <a:xfrm>
            <a:off x="9066001" y="2640625"/>
            <a:ext cx="0" cy="1792072"/>
          </a:xfrm>
          <a:prstGeom prst="line">
            <a:avLst/>
          </a:prstGeom>
          <a:ln w="285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ïśļîḋe">
            <a:extLst>
              <a:ext uri="{FF2B5EF4-FFF2-40B4-BE49-F238E27FC236}">
                <a16:creationId xmlns:a16="http://schemas.microsoft.com/office/drawing/2014/main" id="{8CC69E30-8FF3-4AE2-9339-E135FF342325}"/>
              </a:ext>
            </a:extLst>
          </p:cNvPr>
          <p:cNvSpPr txBox="1"/>
          <p:nvPr/>
        </p:nvSpPr>
        <p:spPr>
          <a:xfrm>
            <a:off x="3545195" y="1863548"/>
            <a:ext cx="2309506" cy="420524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</a:p>
        </p:txBody>
      </p:sp>
      <p:sp>
        <p:nvSpPr>
          <p:cNvPr id="170" name="iṥlïḍê">
            <a:extLst>
              <a:ext uri="{FF2B5EF4-FFF2-40B4-BE49-F238E27FC236}">
                <a16:creationId xmlns:a16="http://schemas.microsoft.com/office/drawing/2014/main" id="{839FFC8D-9C5B-4EF3-80AC-5F2B257CB94C}"/>
              </a:ext>
            </a:extLst>
          </p:cNvPr>
          <p:cNvSpPr txBox="1"/>
          <p:nvPr/>
        </p:nvSpPr>
        <p:spPr>
          <a:xfrm>
            <a:off x="6455896" y="1863548"/>
            <a:ext cx="2309506" cy="420524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</a:p>
        </p:txBody>
      </p:sp>
      <p:sp>
        <p:nvSpPr>
          <p:cNvPr id="171" name="îṩļíḓé">
            <a:extLst>
              <a:ext uri="{FF2B5EF4-FFF2-40B4-BE49-F238E27FC236}">
                <a16:creationId xmlns:a16="http://schemas.microsoft.com/office/drawing/2014/main" id="{D6D797DC-CF00-4961-B46D-9B61A62C42BC}"/>
              </a:ext>
            </a:extLst>
          </p:cNvPr>
          <p:cNvSpPr txBox="1"/>
          <p:nvPr/>
        </p:nvSpPr>
        <p:spPr>
          <a:xfrm>
            <a:off x="9187654" y="1863548"/>
            <a:ext cx="2309506" cy="420524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330733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lí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ṡḻîḓe">
            <a:extLst>
              <a:ext uri="{FF2B5EF4-FFF2-40B4-BE49-F238E27FC236}">
                <a16:creationId xmlns:a16="http://schemas.microsoft.com/office/drawing/2014/main" id="{8C09D401-618C-42E8-A933-BD042FFB1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sḻíḓê">
            <a:extLst>
              <a:ext uri="{FF2B5EF4-FFF2-40B4-BE49-F238E27FC236}">
                <a16:creationId xmlns:a16="http://schemas.microsoft.com/office/drawing/2014/main" id="{16AA7203-7ABD-4DB9-B559-643B308834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 dirty="0"/>
              <a:t>请在插入菜单</a:t>
            </a:r>
            <a:r>
              <a:rPr lang="en-US" altLang="zh-CN" dirty="0"/>
              <a:t>—</a:t>
            </a:r>
            <a:r>
              <a:rPr lang="zh-CN" altLang="en-US" dirty="0"/>
              <a:t>页眉和页脚中修改此文本</a:t>
            </a:r>
          </a:p>
        </p:txBody>
      </p:sp>
      <p:sp>
        <p:nvSpPr>
          <p:cNvPr id="4" name="íṧľíďê">
            <a:extLst>
              <a:ext uri="{FF2B5EF4-FFF2-40B4-BE49-F238E27FC236}">
                <a16:creationId xmlns:a16="http://schemas.microsoft.com/office/drawing/2014/main" id="{AE5339EA-31CE-4CBA-A750-8CAEBC7876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îsļiḍé">
            <a:extLst>
              <a:ext uri="{FF2B5EF4-FFF2-40B4-BE49-F238E27FC236}">
                <a16:creationId xmlns:a16="http://schemas.microsoft.com/office/drawing/2014/main" id="{7E36DFAF-0B27-4EC3-834A-31BA67CE85A2}"/>
              </a:ext>
            </a:extLst>
          </p:cNvPr>
          <p:cNvGrpSpPr/>
          <p:nvPr/>
        </p:nvGrpSpPr>
        <p:grpSpPr>
          <a:xfrm>
            <a:off x="644303" y="1410152"/>
            <a:ext cx="10876184" cy="4543025"/>
            <a:chOff x="644303" y="1453694"/>
            <a:chExt cx="10876184" cy="4543025"/>
          </a:xfrm>
        </p:grpSpPr>
        <p:sp>
          <p:nvSpPr>
            <p:cNvPr id="101" name="ïŝļîḑé">
              <a:extLst>
                <a:ext uri="{FF2B5EF4-FFF2-40B4-BE49-F238E27FC236}">
                  <a16:creationId xmlns:a16="http://schemas.microsoft.com/office/drawing/2014/main" id="{794FD025-6FBD-4E2E-B99E-5244A04D7D5E}"/>
                </a:ext>
              </a:extLst>
            </p:cNvPr>
            <p:cNvSpPr/>
            <p:nvPr/>
          </p:nvSpPr>
          <p:spPr>
            <a:xfrm>
              <a:off x="644303" y="5418295"/>
              <a:ext cx="10861315" cy="578424"/>
            </a:xfrm>
            <a:prstGeom prst="roundRect">
              <a:avLst>
                <a:gd name="adj" fmla="val 19445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98" name="íŝļiḓê">
              <a:extLst>
                <a:ext uri="{FF2B5EF4-FFF2-40B4-BE49-F238E27FC236}">
                  <a16:creationId xmlns:a16="http://schemas.microsoft.com/office/drawing/2014/main" id="{8146695F-C315-41DE-85C0-1C3A79A05203}"/>
                </a:ext>
              </a:extLst>
            </p:cNvPr>
            <p:cNvSpPr/>
            <p:nvPr/>
          </p:nvSpPr>
          <p:spPr>
            <a:xfrm>
              <a:off x="644303" y="4008122"/>
              <a:ext cx="10861315" cy="578424"/>
            </a:xfrm>
            <a:prstGeom prst="roundRect">
              <a:avLst>
                <a:gd name="adj" fmla="val 18211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śḷiḑè">
              <a:extLst>
                <a:ext uri="{FF2B5EF4-FFF2-40B4-BE49-F238E27FC236}">
                  <a16:creationId xmlns:a16="http://schemas.microsoft.com/office/drawing/2014/main" id="{1533E940-1609-48FE-80CC-A407A6480285}"/>
                </a:ext>
              </a:extLst>
            </p:cNvPr>
            <p:cNvSpPr/>
            <p:nvPr/>
          </p:nvSpPr>
          <p:spPr>
            <a:xfrm>
              <a:off x="644303" y="3303035"/>
              <a:ext cx="10861315" cy="578424"/>
            </a:xfrm>
            <a:prstGeom prst="roundRect">
              <a:avLst>
                <a:gd name="adj" fmla="val 19857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60" name="ï$ḷïde">
              <a:extLst>
                <a:ext uri="{FF2B5EF4-FFF2-40B4-BE49-F238E27FC236}">
                  <a16:creationId xmlns:a16="http://schemas.microsoft.com/office/drawing/2014/main" id="{19966984-BDC1-4EDB-B15E-7ADE9FBD94DB}"/>
                </a:ext>
              </a:extLst>
            </p:cNvPr>
            <p:cNvSpPr txBox="1"/>
            <p:nvPr/>
          </p:nvSpPr>
          <p:spPr>
            <a:xfrm>
              <a:off x="4503448" y="3348063"/>
              <a:ext cx="3185102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x</a:t>
              </a:r>
              <a:r>
                <a:rPr lang="en-US" altLang="zh-CN" sz="100"/>
                <a:t> </a:t>
              </a:r>
              <a:r>
                <a:rPr lang="en-US" altLang="zh-CN" sz="1000"/>
                <a:t>t </a:t>
              </a:r>
              <a:endParaRPr lang="en-US" sz="1000" dirty="0"/>
            </a:p>
          </p:txBody>
        </p:sp>
        <p:sp>
          <p:nvSpPr>
            <p:cNvPr id="61" name="iśḻíḓé">
              <a:extLst>
                <a:ext uri="{FF2B5EF4-FFF2-40B4-BE49-F238E27FC236}">
                  <a16:creationId xmlns:a16="http://schemas.microsoft.com/office/drawing/2014/main" id="{F6F54989-7B94-49AC-BAB0-FD27AA2517E3}"/>
                </a:ext>
              </a:extLst>
            </p:cNvPr>
            <p:cNvSpPr txBox="1"/>
            <p:nvPr/>
          </p:nvSpPr>
          <p:spPr>
            <a:xfrm>
              <a:off x="8332970" y="3348063"/>
              <a:ext cx="3187517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x</a:t>
              </a:r>
              <a:r>
                <a:rPr lang="en-US" altLang="zh-CN" sz="100"/>
                <a:t> </a:t>
              </a:r>
              <a:r>
                <a:rPr lang="en-US" altLang="zh-CN" sz="1000"/>
                <a:t>t </a:t>
              </a:r>
              <a:endParaRPr lang="en-US" sz="1000" dirty="0"/>
            </a:p>
          </p:txBody>
        </p:sp>
        <p:sp>
          <p:nvSpPr>
            <p:cNvPr id="62" name="îṧ1iḓê">
              <a:extLst>
                <a:ext uri="{FF2B5EF4-FFF2-40B4-BE49-F238E27FC236}">
                  <a16:creationId xmlns:a16="http://schemas.microsoft.com/office/drawing/2014/main" id="{ADCF45D2-9009-4532-96FA-E24975177099}"/>
                </a:ext>
              </a:extLst>
            </p:cNvPr>
            <p:cNvSpPr txBox="1"/>
            <p:nvPr/>
          </p:nvSpPr>
          <p:spPr>
            <a:xfrm>
              <a:off x="669925" y="3348063"/>
              <a:ext cx="3185102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x</a:t>
              </a:r>
              <a:r>
                <a:rPr lang="en-US" altLang="zh-CN" sz="100"/>
                <a:t> </a:t>
              </a:r>
              <a:r>
                <a:rPr lang="en-US" altLang="zh-CN" sz="1000"/>
                <a:t>t </a:t>
              </a:r>
              <a:endParaRPr lang="en-US" sz="1000" dirty="0"/>
            </a:p>
          </p:txBody>
        </p:sp>
        <p:sp>
          <p:nvSpPr>
            <p:cNvPr id="63" name="îṧļídê">
              <a:extLst>
                <a:ext uri="{FF2B5EF4-FFF2-40B4-BE49-F238E27FC236}">
                  <a16:creationId xmlns:a16="http://schemas.microsoft.com/office/drawing/2014/main" id="{C0B72990-9E84-4ECE-B3C5-238AF0043362}"/>
                </a:ext>
              </a:extLst>
            </p:cNvPr>
            <p:cNvSpPr txBox="1"/>
            <p:nvPr/>
          </p:nvSpPr>
          <p:spPr>
            <a:xfrm>
              <a:off x="4503448" y="4038378"/>
              <a:ext cx="3185102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endParaRPr lang="en-US" sz="1000" dirty="0"/>
            </a:p>
          </p:txBody>
        </p:sp>
        <p:sp>
          <p:nvSpPr>
            <p:cNvPr id="64" name="í$1îdé">
              <a:extLst>
                <a:ext uri="{FF2B5EF4-FFF2-40B4-BE49-F238E27FC236}">
                  <a16:creationId xmlns:a16="http://schemas.microsoft.com/office/drawing/2014/main" id="{0F1DF451-CD5F-4246-8A1F-FF9CDF89296B}"/>
                </a:ext>
              </a:extLst>
            </p:cNvPr>
            <p:cNvSpPr txBox="1"/>
            <p:nvPr/>
          </p:nvSpPr>
          <p:spPr>
            <a:xfrm>
              <a:off x="8332970" y="4038378"/>
              <a:ext cx="3187517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endParaRPr lang="en-US" sz="1000" dirty="0"/>
            </a:p>
          </p:txBody>
        </p:sp>
        <p:sp>
          <p:nvSpPr>
            <p:cNvPr id="65" name="iṩļíḋe">
              <a:extLst>
                <a:ext uri="{FF2B5EF4-FFF2-40B4-BE49-F238E27FC236}">
                  <a16:creationId xmlns:a16="http://schemas.microsoft.com/office/drawing/2014/main" id="{50411351-85C0-4471-B9FC-DC7E4240A278}"/>
                </a:ext>
              </a:extLst>
            </p:cNvPr>
            <p:cNvSpPr txBox="1"/>
            <p:nvPr/>
          </p:nvSpPr>
          <p:spPr>
            <a:xfrm>
              <a:off x="669925" y="4038378"/>
              <a:ext cx="3185102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endParaRPr lang="en-US" sz="1000" dirty="0"/>
            </a:p>
          </p:txBody>
        </p:sp>
        <p:sp>
          <p:nvSpPr>
            <p:cNvPr id="66" name="ï$ḷîḍè">
              <a:extLst>
                <a:ext uri="{FF2B5EF4-FFF2-40B4-BE49-F238E27FC236}">
                  <a16:creationId xmlns:a16="http://schemas.microsoft.com/office/drawing/2014/main" id="{6EBC879F-B2DD-4A43-84CB-79A2522F9FDE}"/>
                </a:ext>
              </a:extLst>
            </p:cNvPr>
            <p:cNvSpPr txBox="1"/>
            <p:nvPr/>
          </p:nvSpPr>
          <p:spPr>
            <a:xfrm>
              <a:off x="4503448" y="4728692"/>
              <a:ext cx="3185102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endParaRPr lang="en-US" sz="1000" dirty="0"/>
            </a:p>
          </p:txBody>
        </p:sp>
        <p:sp>
          <p:nvSpPr>
            <p:cNvPr id="67" name="îSḻïḍê">
              <a:extLst>
                <a:ext uri="{FF2B5EF4-FFF2-40B4-BE49-F238E27FC236}">
                  <a16:creationId xmlns:a16="http://schemas.microsoft.com/office/drawing/2014/main" id="{F4C69B3F-27B1-4502-BC4A-C7D6DF4303C0}"/>
                </a:ext>
              </a:extLst>
            </p:cNvPr>
            <p:cNvSpPr txBox="1"/>
            <p:nvPr/>
          </p:nvSpPr>
          <p:spPr>
            <a:xfrm>
              <a:off x="8332970" y="4728692"/>
              <a:ext cx="3187517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endParaRPr lang="en-US" sz="1000" dirty="0"/>
            </a:p>
          </p:txBody>
        </p:sp>
        <p:sp>
          <p:nvSpPr>
            <p:cNvPr id="68" name="ïSļïḑé">
              <a:extLst>
                <a:ext uri="{FF2B5EF4-FFF2-40B4-BE49-F238E27FC236}">
                  <a16:creationId xmlns:a16="http://schemas.microsoft.com/office/drawing/2014/main" id="{E68DA8EC-6869-4C5C-811B-D5C38E541B5F}"/>
                </a:ext>
              </a:extLst>
            </p:cNvPr>
            <p:cNvSpPr txBox="1"/>
            <p:nvPr/>
          </p:nvSpPr>
          <p:spPr>
            <a:xfrm>
              <a:off x="669925" y="4728692"/>
              <a:ext cx="3185102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endParaRPr lang="en-US" sz="1000" dirty="0"/>
            </a:p>
          </p:txBody>
        </p:sp>
        <p:sp>
          <p:nvSpPr>
            <p:cNvPr id="69" name="ïṥ1ïḍê">
              <a:extLst>
                <a:ext uri="{FF2B5EF4-FFF2-40B4-BE49-F238E27FC236}">
                  <a16:creationId xmlns:a16="http://schemas.microsoft.com/office/drawing/2014/main" id="{111445DD-D2E2-4CC5-A707-7A9049F75568}"/>
                </a:ext>
              </a:extLst>
            </p:cNvPr>
            <p:cNvSpPr txBox="1"/>
            <p:nvPr/>
          </p:nvSpPr>
          <p:spPr>
            <a:xfrm>
              <a:off x="4503448" y="5419007"/>
              <a:ext cx="3185102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endParaRPr lang="en-US" sz="1000" dirty="0"/>
            </a:p>
          </p:txBody>
        </p:sp>
        <p:sp>
          <p:nvSpPr>
            <p:cNvPr id="70" name="ïṣlídè">
              <a:extLst>
                <a:ext uri="{FF2B5EF4-FFF2-40B4-BE49-F238E27FC236}">
                  <a16:creationId xmlns:a16="http://schemas.microsoft.com/office/drawing/2014/main" id="{D15706DE-2678-4CFD-829B-94E9E9A2250C}"/>
                </a:ext>
              </a:extLst>
            </p:cNvPr>
            <p:cNvSpPr txBox="1"/>
            <p:nvPr/>
          </p:nvSpPr>
          <p:spPr>
            <a:xfrm>
              <a:off x="8332970" y="5419007"/>
              <a:ext cx="3187517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</a:t>
              </a:r>
              <a:r>
                <a:rPr lang="en-US" altLang="zh-CN" sz="100"/>
                <a:t> </a:t>
              </a:r>
              <a:r>
                <a:rPr lang="en-US" altLang="zh-CN" sz="1000"/>
                <a:t>ext </a:t>
              </a:r>
              <a:endParaRPr lang="en-US" sz="1000" dirty="0"/>
            </a:p>
          </p:txBody>
        </p:sp>
        <p:sp>
          <p:nvSpPr>
            <p:cNvPr id="71" name="ïṡļïḋé">
              <a:extLst>
                <a:ext uri="{FF2B5EF4-FFF2-40B4-BE49-F238E27FC236}">
                  <a16:creationId xmlns:a16="http://schemas.microsoft.com/office/drawing/2014/main" id="{73470D22-9219-46C7-921E-CB39C45577B0}"/>
                </a:ext>
              </a:extLst>
            </p:cNvPr>
            <p:cNvSpPr txBox="1"/>
            <p:nvPr/>
          </p:nvSpPr>
          <p:spPr>
            <a:xfrm>
              <a:off x="669925" y="5419007"/>
              <a:ext cx="3185102" cy="4869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/>
            <a:p>
              <a:pPr algn="ctr"/>
              <a:r>
                <a:rPr lang="en-US" altLang="zh-CN" sz="1000"/>
                <a:t>T</a:t>
              </a:r>
              <a:r>
                <a:rPr lang="en-US" altLang="zh-CN" sz="100"/>
                <a:t> </a:t>
              </a:r>
              <a:r>
                <a:rPr lang="en-US" altLang="zh-CN" sz="1000"/>
                <a:t>ext </a:t>
              </a:r>
              <a:endParaRPr lang="en-US" sz="1000" dirty="0"/>
            </a:p>
          </p:txBody>
        </p:sp>
        <p:grpSp>
          <p:nvGrpSpPr>
            <p:cNvPr id="96" name="íşliḑe">
              <a:extLst>
                <a:ext uri="{FF2B5EF4-FFF2-40B4-BE49-F238E27FC236}">
                  <a16:creationId xmlns:a16="http://schemas.microsoft.com/office/drawing/2014/main" id="{79C79B1F-93C4-49D8-8ADD-493985542EDA}"/>
                </a:ext>
              </a:extLst>
            </p:cNvPr>
            <p:cNvGrpSpPr/>
            <p:nvPr/>
          </p:nvGrpSpPr>
          <p:grpSpPr>
            <a:xfrm>
              <a:off x="659061" y="1453698"/>
              <a:ext cx="3195966" cy="1504555"/>
              <a:chOff x="659061" y="1606098"/>
              <a:chExt cx="3195966" cy="1504555"/>
            </a:xfrm>
          </p:grpSpPr>
          <p:sp>
            <p:nvSpPr>
              <p:cNvPr id="82" name="iṡḷiḓe">
                <a:extLst>
                  <a:ext uri="{FF2B5EF4-FFF2-40B4-BE49-F238E27FC236}">
                    <a16:creationId xmlns:a16="http://schemas.microsoft.com/office/drawing/2014/main" id="{71BE231E-16CF-46DE-8E33-507E55483750}"/>
                  </a:ext>
                </a:extLst>
              </p:cNvPr>
              <p:cNvSpPr/>
              <p:nvPr/>
            </p:nvSpPr>
            <p:spPr bwMode="auto">
              <a:xfrm>
                <a:off x="669924" y="2341450"/>
                <a:ext cx="318510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</a:t>
                </a:r>
                <a:r>
                  <a:rPr lang="en-US" altLang="zh-CN" sz="100" dirty="0"/>
                  <a:t> </a:t>
                </a:r>
                <a:r>
                  <a:rPr lang="en-US" altLang="zh-CN" sz="1100" dirty="0"/>
                  <a:t>the only option to retain text.</a:t>
                </a:r>
              </a:p>
            </p:txBody>
          </p:sp>
          <p:sp>
            <p:nvSpPr>
              <p:cNvPr id="83" name="ïśḻïḑé">
                <a:extLst>
                  <a:ext uri="{FF2B5EF4-FFF2-40B4-BE49-F238E27FC236}">
                    <a16:creationId xmlns:a16="http://schemas.microsoft.com/office/drawing/2014/main" id="{C96AF644-2E37-4C9A-8424-FCDD59AA8922}"/>
                  </a:ext>
                </a:extLst>
              </p:cNvPr>
              <p:cNvSpPr txBox="1"/>
              <p:nvPr/>
            </p:nvSpPr>
            <p:spPr bwMode="auto">
              <a:xfrm>
                <a:off x="669924" y="1928570"/>
                <a:ext cx="3185103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3600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/>
                  <a:t>Text</a:t>
                </a:r>
                <a:r>
                  <a:rPr lang="en-US" altLang="zh-CN" sz="100" b="1"/>
                  <a:t> </a:t>
                </a:r>
                <a:r>
                  <a:rPr lang="en-US" altLang="zh-CN" sz="1800" b="1"/>
                  <a:t> here</a:t>
                </a:r>
                <a:endParaRPr lang="en-US" altLang="zh-CN" sz="1800" b="1" dirty="0"/>
              </a:p>
            </p:txBody>
          </p:sp>
          <p:sp>
            <p:nvSpPr>
              <p:cNvPr id="88" name="i$ḷïḑê">
                <a:extLst>
                  <a:ext uri="{FF2B5EF4-FFF2-40B4-BE49-F238E27FC236}">
                    <a16:creationId xmlns:a16="http://schemas.microsoft.com/office/drawing/2014/main" id="{B229A9D1-110F-4A51-93CC-E66D48B70089}"/>
                  </a:ext>
                </a:extLst>
              </p:cNvPr>
              <p:cNvSpPr/>
              <p:nvPr/>
            </p:nvSpPr>
            <p:spPr>
              <a:xfrm>
                <a:off x="659061" y="1606098"/>
                <a:ext cx="3185102" cy="1504555"/>
              </a:xfrm>
              <a:prstGeom prst="roundRect">
                <a:avLst>
                  <a:gd name="adj" fmla="val 6591"/>
                </a:avLst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5" name="iśḻîďe">
              <a:extLst>
                <a:ext uri="{FF2B5EF4-FFF2-40B4-BE49-F238E27FC236}">
                  <a16:creationId xmlns:a16="http://schemas.microsoft.com/office/drawing/2014/main" id="{5B959BC9-7692-48F9-8055-5118D5FA3770}"/>
                </a:ext>
              </a:extLst>
            </p:cNvPr>
            <p:cNvGrpSpPr/>
            <p:nvPr/>
          </p:nvGrpSpPr>
          <p:grpSpPr>
            <a:xfrm>
              <a:off x="4489787" y="1453698"/>
              <a:ext cx="3185103" cy="1504555"/>
              <a:chOff x="4397388" y="1606098"/>
              <a:chExt cx="3185103" cy="1504555"/>
            </a:xfrm>
          </p:grpSpPr>
          <p:sp>
            <p:nvSpPr>
              <p:cNvPr id="78" name="íSḷiḑé">
                <a:extLst>
                  <a:ext uri="{FF2B5EF4-FFF2-40B4-BE49-F238E27FC236}">
                    <a16:creationId xmlns:a16="http://schemas.microsoft.com/office/drawing/2014/main" id="{6370277A-873E-45DC-B447-F15E59D9A0AF}"/>
                  </a:ext>
                </a:extLst>
              </p:cNvPr>
              <p:cNvSpPr/>
              <p:nvPr/>
            </p:nvSpPr>
            <p:spPr bwMode="auto">
              <a:xfrm>
                <a:off x="4397388" y="2341450"/>
                <a:ext cx="318510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r</a:t>
                </a:r>
                <a:r>
                  <a:rPr lang="en-US" altLang="zh-CN" sz="100" dirty="0"/>
                  <a:t> </a:t>
                </a:r>
                <a:r>
                  <a:rPr lang="en-US" altLang="zh-CN" sz="1100" dirty="0"/>
                  <a:t>etain text.</a:t>
                </a:r>
              </a:p>
            </p:txBody>
          </p:sp>
          <p:sp>
            <p:nvSpPr>
              <p:cNvPr id="79" name="íṥḻïḓe">
                <a:extLst>
                  <a:ext uri="{FF2B5EF4-FFF2-40B4-BE49-F238E27FC236}">
                    <a16:creationId xmlns:a16="http://schemas.microsoft.com/office/drawing/2014/main" id="{930F3A69-11E8-4BD1-99DC-13B2B22E60C2}"/>
                  </a:ext>
                </a:extLst>
              </p:cNvPr>
              <p:cNvSpPr txBox="1"/>
              <p:nvPr/>
            </p:nvSpPr>
            <p:spPr bwMode="auto">
              <a:xfrm>
                <a:off x="4397388" y="1928570"/>
                <a:ext cx="3185103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3600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800" b="1"/>
                  <a:t>ere</a:t>
                </a:r>
                <a:endParaRPr lang="en-US" altLang="zh-CN" sz="1800" b="1" dirty="0"/>
              </a:p>
            </p:txBody>
          </p:sp>
          <p:sp>
            <p:nvSpPr>
              <p:cNvPr id="89" name="iŝḷiḍê">
                <a:extLst>
                  <a:ext uri="{FF2B5EF4-FFF2-40B4-BE49-F238E27FC236}">
                    <a16:creationId xmlns:a16="http://schemas.microsoft.com/office/drawing/2014/main" id="{B879EA21-2CCF-4090-B75B-65F887788F17}"/>
                  </a:ext>
                </a:extLst>
              </p:cNvPr>
              <p:cNvSpPr/>
              <p:nvPr/>
            </p:nvSpPr>
            <p:spPr>
              <a:xfrm>
                <a:off x="4397389" y="1606098"/>
                <a:ext cx="3185102" cy="1504555"/>
              </a:xfrm>
              <a:prstGeom prst="roundRect">
                <a:avLst>
                  <a:gd name="adj" fmla="val 7066"/>
                </a:avLst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3" name="íSḷïḓe">
              <a:extLst>
                <a:ext uri="{FF2B5EF4-FFF2-40B4-BE49-F238E27FC236}">
                  <a16:creationId xmlns:a16="http://schemas.microsoft.com/office/drawing/2014/main" id="{F7CBBCFC-C756-4C0D-BD68-612AB8A03690}"/>
                </a:ext>
              </a:extLst>
            </p:cNvPr>
            <p:cNvGrpSpPr/>
            <p:nvPr/>
          </p:nvGrpSpPr>
          <p:grpSpPr>
            <a:xfrm>
              <a:off x="8320515" y="1453694"/>
              <a:ext cx="3185103" cy="1504555"/>
              <a:chOff x="8226935" y="1606094"/>
              <a:chExt cx="3185103" cy="1504555"/>
            </a:xfrm>
          </p:grpSpPr>
          <p:sp>
            <p:nvSpPr>
              <p:cNvPr id="74" name="ïśľídè">
                <a:extLst>
                  <a:ext uri="{FF2B5EF4-FFF2-40B4-BE49-F238E27FC236}">
                    <a16:creationId xmlns:a16="http://schemas.microsoft.com/office/drawing/2014/main" id="{2D61B9D3-2140-4320-8573-2F644E4BE617}"/>
                  </a:ext>
                </a:extLst>
              </p:cNvPr>
              <p:cNvSpPr/>
              <p:nvPr/>
            </p:nvSpPr>
            <p:spPr bwMode="auto">
              <a:xfrm>
                <a:off x="8226935" y="2341450"/>
                <a:ext cx="318510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r</a:t>
                </a:r>
                <a:r>
                  <a:rPr lang="en-US" altLang="zh-CN" sz="100" dirty="0"/>
                  <a:t> </a:t>
                </a:r>
                <a:r>
                  <a:rPr lang="en-US" altLang="zh-CN" sz="1100" dirty="0"/>
                  <a:t>etain text.</a:t>
                </a:r>
              </a:p>
            </p:txBody>
          </p:sp>
          <p:sp>
            <p:nvSpPr>
              <p:cNvPr id="75" name="iśľîďê">
                <a:extLst>
                  <a:ext uri="{FF2B5EF4-FFF2-40B4-BE49-F238E27FC236}">
                    <a16:creationId xmlns:a16="http://schemas.microsoft.com/office/drawing/2014/main" id="{ADE32453-C71F-43D8-BBE9-5ED78741FCAD}"/>
                  </a:ext>
                </a:extLst>
              </p:cNvPr>
              <p:cNvSpPr txBox="1"/>
              <p:nvPr/>
            </p:nvSpPr>
            <p:spPr bwMode="auto">
              <a:xfrm>
                <a:off x="8226935" y="1928570"/>
                <a:ext cx="3185103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3600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800" b="1"/>
                  <a:t>ere</a:t>
                </a:r>
                <a:endParaRPr lang="en-US" altLang="zh-CN" sz="1800" b="1" dirty="0"/>
              </a:p>
            </p:txBody>
          </p:sp>
          <p:sp>
            <p:nvSpPr>
              <p:cNvPr id="91" name="íşḷíḑe">
                <a:extLst>
                  <a:ext uri="{FF2B5EF4-FFF2-40B4-BE49-F238E27FC236}">
                    <a16:creationId xmlns:a16="http://schemas.microsoft.com/office/drawing/2014/main" id="{12C802B9-36A7-4E49-90E2-27E2F02FA992}"/>
                  </a:ext>
                </a:extLst>
              </p:cNvPr>
              <p:cNvSpPr/>
              <p:nvPr/>
            </p:nvSpPr>
            <p:spPr>
              <a:xfrm>
                <a:off x="8226936" y="1606094"/>
                <a:ext cx="3185102" cy="1504555"/>
              </a:xfrm>
              <a:prstGeom prst="roundRect">
                <a:avLst>
                  <a:gd name="adj" fmla="val 7224"/>
                </a:avLst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</p:grpSp>
        <p:sp>
          <p:nvSpPr>
            <p:cNvPr id="100" name="ïsľîďê">
              <a:extLst>
                <a:ext uri="{FF2B5EF4-FFF2-40B4-BE49-F238E27FC236}">
                  <a16:creationId xmlns:a16="http://schemas.microsoft.com/office/drawing/2014/main" id="{07DB41FE-FBAA-4048-ADC0-E81D726ACE45}"/>
                </a:ext>
              </a:extLst>
            </p:cNvPr>
            <p:cNvSpPr/>
            <p:nvPr/>
          </p:nvSpPr>
          <p:spPr>
            <a:xfrm>
              <a:off x="644303" y="4713209"/>
              <a:ext cx="10861315" cy="578424"/>
            </a:xfrm>
            <a:prstGeom prst="roundRect">
              <a:avLst>
                <a:gd name="adj" fmla="val 19034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478659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şḷi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ṩlîdè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şľîďè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ṡḻiďé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13" name="işļïdé">
            <a:extLst>
              <a:ext uri="{FF2B5EF4-FFF2-40B4-BE49-F238E27FC236}">
                <a16:creationId xmlns:a16="http://schemas.microsoft.com/office/drawing/2014/main" id="{A37ED89A-62BE-48C3-9160-5031FB42FDC8}"/>
              </a:ext>
            </a:extLst>
          </p:cNvPr>
          <p:cNvSpPr/>
          <p:nvPr/>
        </p:nvSpPr>
        <p:spPr>
          <a:xfrm>
            <a:off x="660400" y="1524794"/>
            <a:ext cx="10860088" cy="2041655"/>
          </a:xfrm>
          <a:prstGeom prst="roundRect">
            <a:avLst>
              <a:gd name="adj" fmla="val 5585"/>
            </a:avLst>
          </a:prstGeom>
          <a:blipFill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7" name="îṡľíḍe">
            <a:extLst>
              <a:ext uri="{FF2B5EF4-FFF2-40B4-BE49-F238E27FC236}">
                <a16:creationId xmlns:a16="http://schemas.microsoft.com/office/drawing/2014/main" id="{ECC10350-B060-4E89-9622-65FAD03C8B55}"/>
              </a:ext>
            </a:extLst>
          </p:cNvPr>
          <p:cNvSpPr/>
          <p:nvPr/>
        </p:nvSpPr>
        <p:spPr bwMode="auto">
          <a:xfrm>
            <a:off x="660399" y="4340306"/>
            <a:ext cx="346866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Copy paste fonts. Choose the only option to retain text.</a:t>
            </a:r>
          </a:p>
          <a:p>
            <a:r>
              <a:rPr lang="en-US" altLang="zh-CN" sz="1100" dirty="0"/>
              <a:t>……</a:t>
            </a:r>
          </a:p>
        </p:txBody>
      </p:sp>
      <p:sp>
        <p:nvSpPr>
          <p:cNvPr id="8" name="îSḻíḍè">
            <a:extLst>
              <a:ext uri="{FF2B5EF4-FFF2-40B4-BE49-F238E27FC236}">
                <a16:creationId xmlns:a16="http://schemas.microsoft.com/office/drawing/2014/main" id="{8742A84D-8A33-4DA9-ACC6-C5A9525E08BD}"/>
              </a:ext>
            </a:extLst>
          </p:cNvPr>
          <p:cNvSpPr txBox="1"/>
          <p:nvPr/>
        </p:nvSpPr>
        <p:spPr bwMode="auto">
          <a:xfrm>
            <a:off x="660399" y="3658394"/>
            <a:ext cx="3468663" cy="510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b="1" dirty="0"/>
              <a:t>Text here</a:t>
            </a:r>
          </a:p>
        </p:txBody>
      </p:sp>
      <p:sp>
        <p:nvSpPr>
          <p:cNvPr id="9" name="íṥḷíḋé">
            <a:extLst>
              <a:ext uri="{FF2B5EF4-FFF2-40B4-BE49-F238E27FC236}">
                <a16:creationId xmlns:a16="http://schemas.microsoft.com/office/drawing/2014/main" id="{3771370E-0A5A-4FEE-B261-AE9A4CA363F4}"/>
              </a:ext>
            </a:extLst>
          </p:cNvPr>
          <p:cNvSpPr/>
          <p:nvPr/>
        </p:nvSpPr>
        <p:spPr bwMode="auto">
          <a:xfrm>
            <a:off x="660399" y="5020078"/>
            <a:ext cx="346866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r>
              <a:rPr lang="en-US" altLang="zh-CN" sz="1100" dirty="0"/>
              <a:t>Copy paste fonts. Choose the only option to retain text.</a:t>
            </a:r>
          </a:p>
          <a:p>
            <a:r>
              <a:rPr lang="en-US" altLang="zh-CN" sz="1100" dirty="0"/>
              <a:t>……</a:t>
            </a:r>
          </a:p>
        </p:txBody>
      </p:sp>
      <p:sp>
        <p:nvSpPr>
          <p:cNvPr id="10" name="îślïḓè">
            <a:extLst>
              <a:ext uri="{FF2B5EF4-FFF2-40B4-BE49-F238E27FC236}">
                <a16:creationId xmlns:a16="http://schemas.microsoft.com/office/drawing/2014/main" id="{87B4953B-3E7C-40C3-A789-F348F5E26230}"/>
              </a:ext>
            </a:extLst>
          </p:cNvPr>
          <p:cNvSpPr/>
          <p:nvPr/>
        </p:nvSpPr>
        <p:spPr bwMode="auto">
          <a:xfrm>
            <a:off x="8050237" y="4340306"/>
            <a:ext cx="346866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r"/>
            <a:r>
              <a:rPr lang="en-US" altLang="zh-CN" sz="1100" dirty="0"/>
              <a:t>Copy paste fonts. Choose the only option to retain text.</a:t>
            </a:r>
          </a:p>
          <a:p>
            <a:pPr algn="r"/>
            <a:r>
              <a:rPr lang="en-US" altLang="zh-CN" sz="1100" dirty="0"/>
              <a:t>……</a:t>
            </a:r>
          </a:p>
        </p:txBody>
      </p:sp>
      <p:sp>
        <p:nvSpPr>
          <p:cNvPr id="11" name="iş1ídè">
            <a:extLst>
              <a:ext uri="{FF2B5EF4-FFF2-40B4-BE49-F238E27FC236}">
                <a16:creationId xmlns:a16="http://schemas.microsoft.com/office/drawing/2014/main" id="{599D6F54-CCB0-4D3C-AF18-C71AEEA176B4}"/>
              </a:ext>
            </a:extLst>
          </p:cNvPr>
          <p:cNvSpPr txBox="1"/>
          <p:nvPr/>
        </p:nvSpPr>
        <p:spPr bwMode="auto">
          <a:xfrm>
            <a:off x="8050237" y="3658394"/>
            <a:ext cx="3468663" cy="510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/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zh-CN" b="1" dirty="0"/>
              <a:t>Text here</a:t>
            </a:r>
          </a:p>
        </p:txBody>
      </p:sp>
      <p:sp>
        <p:nvSpPr>
          <p:cNvPr id="12" name="íṩľîdê">
            <a:extLst>
              <a:ext uri="{FF2B5EF4-FFF2-40B4-BE49-F238E27FC236}">
                <a16:creationId xmlns:a16="http://schemas.microsoft.com/office/drawing/2014/main" id="{774BFA97-3854-4646-8D53-1FD6497A71ED}"/>
              </a:ext>
            </a:extLst>
          </p:cNvPr>
          <p:cNvSpPr/>
          <p:nvPr/>
        </p:nvSpPr>
        <p:spPr bwMode="auto">
          <a:xfrm>
            <a:off x="8050237" y="5020078"/>
            <a:ext cx="3468663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r"/>
            <a:r>
              <a:rPr lang="en-US" altLang="zh-CN" sz="1100" dirty="0"/>
              <a:t>Copy paste fonts. Choose the only option to retain text.</a:t>
            </a:r>
          </a:p>
          <a:p>
            <a:pPr algn="r"/>
            <a:r>
              <a:rPr lang="en-US" altLang="zh-CN" sz="1100" dirty="0"/>
              <a:t>……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580268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ṧļí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îṡ1íḑè">
            <a:extLst>
              <a:ext uri="{FF2B5EF4-FFF2-40B4-BE49-F238E27FC236}">
                <a16:creationId xmlns:a16="http://schemas.microsoft.com/office/drawing/2014/main" id="{847CE569-D853-44AA-BDBE-E8D2010AA992}"/>
              </a:ext>
            </a:extLst>
          </p:cNvPr>
          <p:cNvSpPr/>
          <p:nvPr/>
        </p:nvSpPr>
        <p:spPr>
          <a:xfrm>
            <a:off x="10402931" y="2382952"/>
            <a:ext cx="491130" cy="3266187"/>
          </a:xfrm>
          <a:prstGeom prst="roundRect">
            <a:avLst>
              <a:gd name="adj" fmla="val 2144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îṥḷïḋê">
            <a:extLst>
              <a:ext uri="{FF2B5EF4-FFF2-40B4-BE49-F238E27FC236}">
                <a16:creationId xmlns:a16="http://schemas.microsoft.com/office/drawing/2014/main" id="{1FBC121E-CF81-423D-BFFD-5BF281BBDCC7}"/>
              </a:ext>
            </a:extLst>
          </p:cNvPr>
          <p:cNvSpPr/>
          <p:nvPr/>
        </p:nvSpPr>
        <p:spPr>
          <a:xfrm>
            <a:off x="9488430" y="2778210"/>
            <a:ext cx="491130" cy="2871375"/>
          </a:xfrm>
          <a:prstGeom prst="roundRect">
            <a:avLst>
              <a:gd name="adj" fmla="val 214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íŝļïḍè">
            <a:extLst>
              <a:ext uri="{FF2B5EF4-FFF2-40B4-BE49-F238E27FC236}">
                <a16:creationId xmlns:a16="http://schemas.microsoft.com/office/drawing/2014/main" id="{6107FA14-6B06-4B29-961C-7343815A5D97}"/>
              </a:ext>
            </a:extLst>
          </p:cNvPr>
          <p:cNvSpPr/>
          <p:nvPr/>
        </p:nvSpPr>
        <p:spPr>
          <a:xfrm>
            <a:off x="8573929" y="3855423"/>
            <a:ext cx="491130" cy="1794609"/>
          </a:xfrm>
          <a:prstGeom prst="roundRect">
            <a:avLst>
              <a:gd name="adj" fmla="val 2144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i$1íďê">
            <a:extLst>
              <a:ext uri="{FF2B5EF4-FFF2-40B4-BE49-F238E27FC236}">
                <a16:creationId xmlns:a16="http://schemas.microsoft.com/office/drawing/2014/main" id="{091A0ADB-1C12-41D6-9671-AAECE990E588}"/>
              </a:ext>
            </a:extLst>
          </p:cNvPr>
          <p:cNvSpPr/>
          <p:nvPr/>
        </p:nvSpPr>
        <p:spPr>
          <a:xfrm>
            <a:off x="7659428" y="3138026"/>
            <a:ext cx="491130" cy="2512453"/>
          </a:xfrm>
          <a:prstGeom prst="roundRect">
            <a:avLst>
              <a:gd name="adj" fmla="val 214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išľiḓè">
            <a:extLst>
              <a:ext uri="{FF2B5EF4-FFF2-40B4-BE49-F238E27FC236}">
                <a16:creationId xmlns:a16="http://schemas.microsoft.com/office/drawing/2014/main" id="{9DFC6B2B-BA3E-464C-BC31-52A46F9C0DFB}"/>
              </a:ext>
            </a:extLst>
          </p:cNvPr>
          <p:cNvSpPr/>
          <p:nvPr/>
        </p:nvSpPr>
        <p:spPr>
          <a:xfrm>
            <a:off x="6739909" y="3999439"/>
            <a:ext cx="491130" cy="1651042"/>
          </a:xfrm>
          <a:prstGeom prst="roundRect">
            <a:avLst>
              <a:gd name="adj" fmla="val 2144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ïślíḋè">
            <a:extLst>
              <a:ext uri="{FF2B5EF4-FFF2-40B4-BE49-F238E27FC236}">
                <a16:creationId xmlns:a16="http://schemas.microsoft.com/office/drawing/2014/main" id="{11D5770D-0D16-465F-98C9-0D9666E72208}"/>
              </a:ext>
            </a:extLst>
          </p:cNvPr>
          <p:cNvSpPr/>
          <p:nvPr/>
        </p:nvSpPr>
        <p:spPr>
          <a:xfrm>
            <a:off x="5826448" y="2528183"/>
            <a:ext cx="491130" cy="3122298"/>
          </a:xfrm>
          <a:prstGeom prst="roundRect">
            <a:avLst>
              <a:gd name="adj" fmla="val 214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íŝľîḑè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ṩlîḋè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šľidê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11" name="ï$ľiḍé">
            <a:extLst>
              <a:ext uri="{FF2B5EF4-FFF2-40B4-BE49-F238E27FC236}">
                <a16:creationId xmlns:a16="http://schemas.microsoft.com/office/drawing/2014/main" id="{AFF96265-E11F-4927-83FE-9BF2F3742BC6}"/>
              </a:ext>
            </a:extLst>
          </p:cNvPr>
          <p:cNvSpPr/>
          <p:nvPr/>
        </p:nvSpPr>
        <p:spPr bwMode="auto">
          <a:xfrm>
            <a:off x="678168" y="1489449"/>
            <a:ext cx="4004999" cy="379515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rmAutofit/>
          </a:bodyPr>
          <a:lstStyle/>
          <a:p>
            <a:r>
              <a:rPr lang="en-US" altLang="zh-CN" b="1">
                <a:solidFill>
                  <a:schemeClr val="tx1"/>
                </a:solidFill>
              </a:rPr>
              <a:t>Text</a:t>
            </a:r>
            <a:r>
              <a:rPr lang="en-US" altLang="zh-CN" sz="100" b="1">
                <a:solidFill>
                  <a:schemeClr val="tx1"/>
                </a:solidFill>
              </a:rPr>
              <a:t> </a:t>
            </a:r>
            <a:r>
              <a:rPr lang="en-US" altLang="zh-CN" b="1">
                <a:solidFill>
                  <a:schemeClr val="tx1"/>
                </a:solidFill>
              </a:rPr>
              <a:t> </a:t>
            </a:r>
            <a:r>
              <a:rPr lang="en-US" altLang="zh-CN" b="1" dirty="0">
                <a:solidFill>
                  <a:schemeClr val="tx1"/>
                </a:solidFill>
              </a:rPr>
              <a:t>here</a:t>
            </a:r>
          </a:p>
        </p:txBody>
      </p:sp>
      <p:sp>
        <p:nvSpPr>
          <p:cNvPr id="12" name="ïŝḻídê">
            <a:extLst>
              <a:ext uri="{FF2B5EF4-FFF2-40B4-BE49-F238E27FC236}">
                <a16:creationId xmlns:a16="http://schemas.microsoft.com/office/drawing/2014/main" id="{E223C7DF-B8A2-43B9-89A9-E0573A792290}"/>
              </a:ext>
            </a:extLst>
          </p:cNvPr>
          <p:cNvSpPr/>
          <p:nvPr/>
        </p:nvSpPr>
        <p:spPr>
          <a:xfrm>
            <a:off x="678167" y="1868964"/>
            <a:ext cx="4005000" cy="659219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  <a:endParaRPr lang="zh-CN" altLang="en-US" sz="1100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</a:t>
            </a:r>
            <a:r>
              <a:rPr lang="en-US" altLang="zh-CN" sz="1100"/>
              <a:t>text on</a:t>
            </a:r>
            <a:r>
              <a:rPr lang="en-US" altLang="zh-CN" sz="100"/>
              <a:t> </a:t>
            </a:r>
            <a:r>
              <a:rPr lang="en-US" altLang="zh-CN" sz="1100"/>
              <a:t>ly</a:t>
            </a:r>
            <a:r>
              <a:rPr lang="en-US" altLang="zh-CN" sz="1100" dirty="0"/>
              <a:t>" option.</a:t>
            </a:r>
            <a:endParaRPr lang="zh-CN" altLang="en-US" sz="1100" dirty="0"/>
          </a:p>
        </p:txBody>
      </p:sp>
      <p:sp>
        <p:nvSpPr>
          <p:cNvPr id="13" name="îšľiḑé">
            <a:extLst>
              <a:ext uri="{FF2B5EF4-FFF2-40B4-BE49-F238E27FC236}">
                <a16:creationId xmlns:a16="http://schemas.microsoft.com/office/drawing/2014/main" id="{D4EAE0F7-933F-4ECD-B9FE-3A3ADB749AF7}"/>
              </a:ext>
            </a:extLst>
          </p:cNvPr>
          <p:cNvSpPr/>
          <p:nvPr/>
        </p:nvSpPr>
        <p:spPr bwMode="auto">
          <a:xfrm>
            <a:off x="678167" y="3122294"/>
            <a:ext cx="4004999" cy="379515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rmAutofit/>
          </a:bodyPr>
          <a:lstStyle/>
          <a:p>
            <a:r>
              <a:rPr lang="en-US" altLang="zh-CN" b="1">
                <a:solidFill>
                  <a:schemeClr val="tx1"/>
                </a:solidFill>
              </a:rPr>
              <a:t>Text he</a:t>
            </a:r>
            <a:r>
              <a:rPr lang="en-US" altLang="zh-CN" sz="100" b="1">
                <a:solidFill>
                  <a:schemeClr val="tx1"/>
                </a:solidFill>
              </a:rPr>
              <a:t> </a:t>
            </a:r>
            <a:r>
              <a:rPr lang="en-US" altLang="zh-CN" b="1">
                <a:solidFill>
                  <a:schemeClr val="tx1"/>
                </a:solidFill>
              </a:rPr>
              <a:t>re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sp>
        <p:nvSpPr>
          <p:cNvPr id="14" name="ïṥļîḓé">
            <a:extLst>
              <a:ext uri="{FF2B5EF4-FFF2-40B4-BE49-F238E27FC236}">
                <a16:creationId xmlns:a16="http://schemas.microsoft.com/office/drawing/2014/main" id="{8A886063-7D25-4273-960B-F08EB90CB001}"/>
              </a:ext>
            </a:extLst>
          </p:cNvPr>
          <p:cNvSpPr/>
          <p:nvPr/>
        </p:nvSpPr>
        <p:spPr>
          <a:xfrm>
            <a:off x="678167" y="3501809"/>
            <a:ext cx="4005000" cy="659219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  <a:endParaRPr lang="zh-CN" altLang="en-US" sz="1100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</a:t>
            </a:r>
            <a:r>
              <a:rPr lang="en-US" altLang="zh-CN" sz="1100"/>
              <a:t>text on</a:t>
            </a:r>
            <a:r>
              <a:rPr lang="en-US" altLang="zh-CN" sz="100"/>
              <a:t> </a:t>
            </a:r>
            <a:r>
              <a:rPr lang="en-US" altLang="zh-CN" sz="1100"/>
              <a:t>ly</a:t>
            </a:r>
            <a:r>
              <a:rPr lang="en-US" altLang="zh-CN" sz="1100" dirty="0"/>
              <a:t>" option.</a:t>
            </a:r>
            <a:endParaRPr lang="zh-CN" altLang="en-US" sz="1100" dirty="0"/>
          </a:p>
        </p:txBody>
      </p:sp>
      <p:sp>
        <p:nvSpPr>
          <p:cNvPr id="15" name="îṩļiḓê">
            <a:extLst>
              <a:ext uri="{FF2B5EF4-FFF2-40B4-BE49-F238E27FC236}">
                <a16:creationId xmlns:a16="http://schemas.microsoft.com/office/drawing/2014/main" id="{3558132F-0BB4-44C5-A587-05DCA7D7BFF0}"/>
              </a:ext>
            </a:extLst>
          </p:cNvPr>
          <p:cNvSpPr/>
          <p:nvPr/>
        </p:nvSpPr>
        <p:spPr bwMode="auto">
          <a:xfrm>
            <a:off x="678167" y="4755140"/>
            <a:ext cx="4004999" cy="379515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>
            <a:normAutofit/>
          </a:bodyPr>
          <a:lstStyle/>
          <a:p>
            <a:r>
              <a:rPr lang="en-US" altLang="zh-CN" b="1" dirty="0">
                <a:solidFill>
                  <a:schemeClr val="tx1"/>
                </a:solidFill>
              </a:rPr>
              <a:t>Text he</a:t>
            </a:r>
            <a:r>
              <a:rPr lang="en-US" altLang="zh-CN" sz="100" b="1" dirty="0">
                <a:solidFill>
                  <a:schemeClr val="tx1"/>
                </a:solidFill>
              </a:rPr>
              <a:t> </a:t>
            </a:r>
            <a:r>
              <a:rPr lang="en-US" altLang="zh-CN" b="1" dirty="0">
                <a:solidFill>
                  <a:schemeClr val="tx1"/>
                </a:solidFill>
              </a:rPr>
              <a:t>re</a:t>
            </a:r>
          </a:p>
        </p:txBody>
      </p:sp>
      <p:sp>
        <p:nvSpPr>
          <p:cNvPr id="16" name="ïṧlíḓe">
            <a:extLst>
              <a:ext uri="{FF2B5EF4-FFF2-40B4-BE49-F238E27FC236}">
                <a16:creationId xmlns:a16="http://schemas.microsoft.com/office/drawing/2014/main" id="{0B39021C-A383-4AC5-94DE-A09BAC9E1FF4}"/>
              </a:ext>
            </a:extLst>
          </p:cNvPr>
          <p:cNvSpPr/>
          <p:nvPr/>
        </p:nvSpPr>
        <p:spPr>
          <a:xfrm>
            <a:off x="678167" y="5134655"/>
            <a:ext cx="4005000" cy="659219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  <a:endParaRPr lang="zh-CN" altLang="en-US" sz="1100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</a:t>
            </a:r>
            <a:r>
              <a:rPr lang="en-US" altLang="zh-CN" sz="1100"/>
              <a:t>text on</a:t>
            </a:r>
            <a:r>
              <a:rPr lang="en-US" altLang="zh-CN" sz="100"/>
              <a:t> </a:t>
            </a:r>
            <a:r>
              <a:rPr lang="en-US" altLang="zh-CN" sz="1100"/>
              <a:t>ly</a:t>
            </a:r>
            <a:r>
              <a:rPr lang="en-US" altLang="zh-CN" sz="1100" dirty="0"/>
              <a:t>" option.</a:t>
            </a:r>
            <a:endParaRPr lang="zh-CN" altLang="en-US" sz="1100" dirty="0"/>
          </a:p>
        </p:txBody>
      </p:sp>
      <p:cxnSp>
        <p:nvCxnSpPr>
          <p:cNvPr id="17" name="i$lîḓê">
            <a:extLst>
              <a:ext uri="{FF2B5EF4-FFF2-40B4-BE49-F238E27FC236}">
                <a16:creationId xmlns:a16="http://schemas.microsoft.com/office/drawing/2014/main" id="{2673BE68-BC50-4A8E-9F2B-AC5E2D6518D2}"/>
              </a:ext>
            </a:extLst>
          </p:cNvPr>
          <p:cNvCxnSpPr>
            <a:cxnSpLocks/>
          </p:cNvCxnSpPr>
          <p:nvPr/>
        </p:nvCxnSpPr>
        <p:spPr>
          <a:xfrm>
            <a:off x="937029" y="2704333"/>
            <a:ext cx="338613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îṩľídè">
            <a:extLst>
              <a:ext uri="{FF2B5EF4-FFF2-40B4-BE49-F238E27FC236}">
                <a16:creationId xmlns:a16="http://schemas.microsoft.com/office/drawing/2014/main" id="{3E91D57E-FC2C-4615-9276-582E8F3F11B9}"/>
              </a:ext>
            </a:extLst>
          </p:cNvPr>
          <p:cNvCxnSpPr>
            <a:cxnSpLocks/>
          </p:cNvCxnSpPr>
          <p:nvPr/>
        </p:nvCxnSpPr>
        <p:spPr>
          <a:xfrm>
            <a:off x="937029" y="4337178"/>
            <a:ext cx="335756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ïsľïḋé">
            <a:extLst>
              <a:ext uri="{FF2B5EF4-FFF2-40B4-BE49-F238E27FC236}">
                <a16:creationId xmlns:a16="http://schemas.microsoft.com/office/drawing/2014/main" id="{28B2314F-A82E-4939-8788-9FBB82AEC812}"/>
              </a:ext>
            </a:extLst>
          </p:cNvPr>
          <p:cNvSpPr txBox="1"/>
          <p:nvPr/>
        </p:nvSpPr>
        <p:spPr>
          <a:xfrm>
            <a:off x="5671888" y="2028411"/>
            <a:ext cx="684337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de-DE" altLang="zh-CN" sz="2000" b="1" dirty="0">
                <a:solidFill>
                  <a:schemeClr val="accent1"/>
                </a:solidFill>
              </a:rPr>
              <a:t> </a:t>
            </a:r>
            <a:r>
              <a:rPr lang="en-US" altLang="zh-CN" sz="2000" b="1" dirty="0">
                <a:solidFill>
                  <a:schemeClr val="accent1"/>
                </a:solidFill>
              </a:rPr>
              <a:t>80</a:t>
            </a:r>
            <a:endParaRPr lang="de-DE" altLang="zh-CN" sz="2000" b="1" dirty="0">
              <a:solidFill>
                <a:schemeClr val="accent1"/>
              </a:solidFill>
            </a:endParaRPr>
          </a:p>
        </p:txBody>
      </p:sp>
      <p:sp>
        <p:nvSpPr>
          <p:cNvPr id="21" name="i$ļïḑê">
            <a:extLst>
              <a:ext uri="{FF2B5EF4-FFF2-40B4-BE49-F238E27FC236}">
                <a16:creationId xmlns:a16="http://schemas.microsoft.com/office/drawing/2014/main" id="{3185FB42-DEBF-47C7-95E1-391B966F75DD}"/>
              </a:ext>
            </a:extLst>
          </p:cNvPr>
          <p:cNvSpPr txBox="1"/>
          <p:nvPr/>
        </p:nvSpPr>
        <p:spPr>
          <a:xfrm>
            <a:off x="7532677" y="2631223"/>
            <a:ext cx="684336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de-DE" altLang="zh-CN" sz="2000" b="1" dirty="0">
                <a:solidFill>
                  <a:schemeClr val="accent1"/>
                </a:solidFill>
              </a:rPr>
              <a:t> </a:t>
            </a:r>
            <a:r>
              <a:rPr lang="en-US" altLang="zh-CN" sz="2000" b="1" dirty="0">
                <a:solidFill>
                  <a:schemeClr val="accent1"/>
                </a:solidFill>
              </a:rPr>
              <a:t>60</a:t>
            </a:r>
            <a:endParaRPr lang="de-DE" altLang="zh-CN" sz="2000" b="1" dirty="0">
              <a:solidFill>
                <a:schemeClr val="accent1"/>
              </a:solidFill>
            </a:endParaRPr>
          </a:p>
        </p:txBody>
      </p:sp>
      <p:sp>
        <p:nvSpPr>
          <p:cNvPr id="22" name="išḻiḋe">
            <a:extLst>
              <a:ext uri="{FF2B5EF4-FFF2-40B4-BE49-F238E27FC236}">
                <a16:creationId xmlns:a16="http://schemas.microsoft.com/office/drawing/2014/main" id="{20965A9B-5E46-446E-9311-B956F4A3D6C4}"/>
              </a:ext>
            </a:extLst>
          </p:cNvPr>
          <p:cNvSpPr txBox="1"/>
          <p:nvPr/>
        </p:nvSpPr>
        <p:spPr>
          <a:xfrm>
            <a:off x="9355520" y="2262424"/>
            <a:ext cx="684336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de-DE" altLang="zh-CN" sz="2000" b="1" dirty="0">
                <a:solidFill>
                  <a:schemeClr val="accent1"/>
                </a:solidFill>
              </a:rPr>
              <a:t> </a:t>
            </a:r>
            <a:r>
              <a:rPr lang="en-US" altLang="zh-CN" sz="2000" b="1" dirty="0">
                <a:solidFill>
                  <a:schemeClr val="accent1"/>
                </a:solidFill>
              </a:rPr>
              <a:t>75</a:t>
            </a:r>
            <a:endParaRPr lang="de-DE" altLang="zh-CN" sz="2000" b="1" dirty="0">
              <a:solidFill>
                <a:schemeClr val="accent1"/>
              </a:solidFill>
            </a:endParaRPr>
          </a:p>
        </p:txBody>
      </p:sp>
      <p:sp>
        <p:nvSpPr>
          <p:cNvPr id="23" name="îs1ídè">
            <a:extLst>
              <a:ext uri="{FF2B5EF4-FFF2-40B4-BE49-F238E27FC236}">
                <a16:creationId xmlns:a16="http://schemas.microsoft.com/office/drawing/2014/main" id="{A52FB094-8C9C-44BC-B266-BE4E36DF41A2}"/>
              </a:ext>
            </a:extLst>
          </p:cNvPr>
          <p:cNvSpPr txBox="1"/>
          <p:nvPr/>
        </p:nvSpPr>
        <p:spPr>
          <a:xfrm>
            <a:off x="10319602" y="1880553"/>
            <a:ext cx="684337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en-US" altLang="zh-CN" sz="2000" b="1" dirty="0">
                <a:solidFill>
                  <a:schemeClr val="accent2"/>
                </a:solidFill>
              </a:rPr>
              <a:t>83</a:t>
            </a:r>
            <a:endParaRPr lang="de-DE" altLang="zh-CN" sz="2000" b="1" dirty="0">
              <a:solidFill>
                <a:schemeClr val="accent2"/>
              </a:solidFill>
            </a:endParaRPr>
          </a:p>
        </p:txBody>
      </p:sp>
      <p:sp>
        <p:nvSpPr>
          <p:cNvPr id="24" name="íśḷïďè">
            <a:extLst>
              <a:ext uri="{FF2B5EF4-FFF2-40B4-BE49-F238E27FC236}">
                <a16:creationId xmlns:a16="http://schemas.microsoft.com/office/drawing/2014/main" id="{3FA7210F-9DEA-4517-981B-37DCAE7394CC}"/>
              </a:ext>
            </a:extLst>
          </p:cNvPr>
          <p:cNvSpPr txBox="1"/>
          <p:nvPr/>
        </p:nvSpPr>
        <p:spPr>
          <a:xfrm>
            <a:off x="8493834" y="3345309"/>
            <a:ext cx="684336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en-US" altLang="zh-CN" sz="2000" b="1" dirty="0">
                <a:solidFill>
                  <a:schemeClr val="accent2"/>
                </a:solidFill>
              </a:rPr>
              <a:t>53</a:t>
            </a:r>
            <a:endParaRPr lang="de-DE" altLang="zh-CN" sz="2000" b="1" dirty="0">
              <a:solidFill>
                <a:schemeClr val="accent2"/>
              </a:solidFill>
            </a:endParaRPr>
          </a:p>
        </p:txBody>
      </p:sp>
      <p:sp>
        <p:nvSpPr>
          <p:cNvPr id="25" name="islídé">
            <a:extLst>
              <a:ext uri="{FF2B5EF4-FFF2-40B4-BE49-F238E27FC236}">
                <a16:creationId xmlns:a16="http://schemas.microsoft.com/office/drawing/2014/main" id="{C04C842C-535F-4CAD-9F43-0C097B131E40}"/>
              </a:ext>
            </a:extLst>
          </p:cNvPr>
          <p:cNvSpPr txBox="1"/>
          <p:nvPr/>
        </p:nvSpPr>
        <p:spPr>
          <a:xfrm>
            <a:off x="6649364" y="3513094"/>
            <a:ext cx="684336" cy="57854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en-US" altLang="zh-CN" sz="2000" b="1" dirty="0">
                <a:solidFill>
                  <a:schemeClr val="accent2"/>
                </a:solidFill>
              </a:rPr>
              <a:t>50</a:t>
            </a:r>
            <a:endParaRPr lang="de-DE" altLang="zh-CN" sz="2000" b="1" dirty="0">
              <a:solidFill>
                <a:schemeClr val="accent2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151001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$ļî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śļíḑê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ṩ1iḓê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ṥ1iḍê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6" name="ïṩlíḓé">
            <a:extLst>
              <a:ext uri="{FF2B5EF4-FFF2-40B4-BE49-F238E27FC236}">
                <a16:creationId xmlns:a16="http://schemas.microsoft.com/office/drawing/2014/main" id="{C09DA2E3-BCE1-43B8-BC7B-2528F75C54A0}"/>
              </a:ext>
            </a:extLst>
          </p:cNvPr>
          <p:cNvGrpSpPr/>
          <p:nvPr/>
        </p:nvGrpSpPr>
        <p:grpSpPr>
          <a:xfrm>
            <a:off x="1377613" y="3566965"/>
            <a:ext cx="9439950" cy="1617957"/>
            <a:chOff x="1377613" y="3387735"/>
            <a:chExt cx="9439950" cy="1617957"/>
          </a:xfrm>
        </p:grpSpPr>
        <p:sp>
          <p:nvSpPr>
            <p:cNvPr id="17" name="îšḷiḓe">
              <a:extLst>
                <a:ext uri="{FF2B5EF4-FFF2-40B4-BE49-F238E27FC236}">
                  <a16:creationId xmlns:a16="http://schemas.microsoft.com/office/drawing/2014/main" id="{13B15B50-CC7E-416E-A489-BE6167255EC4}"/>
                </a:ext>
              </a:extLst>
            </p:cNvPr>
            <p:cNvSpPr/>
            <p:nvPr/>
          </p:nvSpPr>
          <p:spPr>
            <a:xfrm>
              <a:off x="4662418" y="3387735"/>
              <a:ext cx="2867164" cy="579512"/>
            </a:xfrm>
            <a:prstGeom prst="roundRect">
              <a:avLst>
                <a:gd name="adj" fmla="val 18405"/>
              </a:avLst>
            </a:prstGeom>
            <a:solidFill>
              <a:schemeClr val="accent2"/>
            </a:solidFill>
            <a:ln w="381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</a:pPr>
              <a:r>
                <a:rPr lang="en-US" altLang="zh-CN" sz="1800" b="1">
                  <a:solidFill>
                    <a:schemeClr val="bg1"/>
                  </a:solidFill>
                </a:rPr>
                <a:t>Te</a:t>
              </a:r>
              <a:r>
                <a:rPr lang="en-US" altLang="zh-CN" sz="400" b="1">
                  <a:solidFill>
                    <a:schemeClr val="bg1"/>
                  </a:solidFill>
                </a:rPr>
                <a:t> </a:t>
              </a:r>
              <a:r>
                <a:rPr lang="en-US" altLang="zh-CN" sz="1800" b="1">
                  <a:solidFill>
                    <a:schemeClr val="bg1"/>
                  </a:solidFill>
                </a:rPr>
                <a:t>xt here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îS1îḓê">
              <a:extLst>
                <a:ext uri="{FF2B5EF4-FFF2-40B4-BE49-F238E27FC236}">
                  <a16:creationId xmlns:a16="http://schemas.microsoft.com/office/drawing/2014/main" id="{5C35B700-D0D3-406C-B3A5-A7A59D7B7902}"/>
                </a:ext>
              </a:extLst>
            </p:cNvPr>
            <p:cNvSpPr/>
            <p:nvPr/>
          </p:nvSpPr>
          <p:spPr>
            <a:xfrm>
              <a:off x="1423053" y="3387735"/>
              <a:ext cx="2867164" cy="579512"/>
            </a:xfrm>
            <a:prstGeom prst="roundRect">
              <a:avLst>
                <a:gd name="adj" fmla="val 18405"/>
              </a:avLst>
            </a:prstGeom>
            <a:solidFill>
              <a:schemeClr val="accent1"/>
            </a:solidFill>
            <a:ln w="381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</a:pPr>
              <a:r>
                <a:rPr lang="en-US" altLang="zh-CN" sz="1800" b="1">
                  <a:solidFill>
                    <a:schemeClr val="bg1"/>
                  </a:solidFill>
                </a:rPr>
                <a:t>Te</a:t>
              </a:r>
              <a:r>
                <a:rPr lang="en-US" altLang="zh-CN" sz="400" b="1">
                  <a:solidFill>
                    <a:schemeClr val="bg1"/>
                  </a:solidFill>
                </a:rPr>
                <a:t> </a:t>
              </a:r>
              <a:r>
                <a:rPr lang="en-US" altLang="zh-CN" sz="1800" b="1">
                  <a:solidFill>
                    <a:schemeClr val="bg1"/>
                  </a:solidFill>
                </a:rPr>
                <a:t>xt here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îşḷïḓé">
              <a:extLst>
                <a:ext uri="{FF2B5EF4-FFF2-40B4-BE49-F238E27FC236}">
                  <a16:creationId xmlns:a16="http://schemas.microsoft.com/office/drawing/2014/main" id="{C46E4982-1681-4A3A-9F1E-A0D7F1AB4C30}"/>
                </a:ext>
              </a:extLst>
            </p:cNvPr>
            <p:cNvSpPr/>
            <p:nvPr/>
          </p:nvSpPr>
          <p:spPr bwMode="auto">
            <a:xfrm>
              <a:off x="1377613" y="4155300"/>
              <a:ext cx="2958042" cy="850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100" dirty="0"/>
                <a:t>Copy p</a:t>
              </a:r>
              <a:r>
                <a:rPr lang="en-US" altLang="zh-CN" sz="100" dirty="0"/>
                <a:t> </a:t>
              </a:r>
              <a:r>
                <a:rPr lang="en-US" altLang="zh-CN" sz="1100" dirty="0"/>
                <a:t>aste fonts. Choose the only option to retain text.</a:t>
              </a:r>
            </a:p>
            <a:p>
              <a:pPr algn="ctr"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44" name="işľídé">
              <a:extLst>
                <a:ext uri="{FF2B5EF4-FFF2-40B4-BE49-F238E27FC236}">
                  <a16:creationId xmlns:a16="http://schemas.microsoft.com/office/drawing/2014/main" id="{FF0C82A0-332A-4B34-B885-AAA270847099}"/>
                </a:ext>
              </a:extLst>
            </p:cNvPr>
            <p:cNvSpPr/>
            <p:nvPr/>
          </p:nvSpPr>
          <p:spPr bwMode="auto">
            <a:xfrm>
              <a:off x="4617773" y="4155300"/>
              <a:ext cx="2958042" cy="850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100" dirty="0"/>
                <a:t>Copy p</a:t>
              </a:r>
              <a:r>
                <a:rPr lang="en-US" altLang="zh-CN" sz="100" dirty="0"/>
                <a:t> </a:t>
              </a:r>
              <a:r>
                <a:rPr lang="en-US" altLang="zh-CN" sz="1100" dirty="0"/>
                <a:t>aste fonts. Choose the only option to retain text.</a:t>
              </a:r>
            </a:p>
            <a:p>
              <a:pPr algn="ctr"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45" name="îśḷîďé">
              <a:extLst>
                <a:ext uri="{FF2B5EF4-FFF2-40B4-BE49-F238E27FC236}">
                  <a16:creationId xmlns:a16="http://schemas.microsoft.com/office/drawing/2014/main" id="{F2F454D4-E84D-455A-B442-14FD7D98D555}"/>
                </a:ext>
              </a:extLst>
            </p:cNvPr>
            <p:cNvSpPr/>
            <p:nvPr/>
          </p:nvSpPr>
          <p:spPr bwMode="auto">
            <a:xfrm>
              <a:off x="7859521" y="4155300"/>
              <a:ext cx="2958042" cy="850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100" dirty="0"/>
                <a:t>Copy p</a:t>
              </a:r>
              <a:r>
                <a:rPr lang="en-US" altLang="zh-CN" sz="100" dirty="0"/>
                <a:t> </a:t>
              </a:r>
              <a:r>
                <a:rPr lang="en-US" altLang="zh-CN" sz="1100" dirty="0"/>
                <a:t>aste fonts. Choose the only option to retain text.</a:t>
              </a:r>
            </a:p>
            <a:p>
              <a:pPr algn="ctr"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8" name="íśļiḓê">
              <a:extLst>
                <a:ext uri="{FF2B5EF4-FFF2-40B4-BE49-F238E27FC236}">
                  <a16:creationId xmlns:a16="http://schemas.microsoft.com/office/drawing/2014/main" id="{F06A539A-C19D-4B8B-8836-3B3DEE1DAD6E}"/>
                </a:ext>
              </a:extLst>
            </p:cNvPr>
            <p:cNvSpPr/>
            <p:nvPr/>
          </p:nvSpPr>
          <p:spPr>
            <a:xfrm>
              <a:off x="7901783" y="3387735"/>
              <a:ext cx="2867164" cy="579512"/>
            </a:xfrm>
            <a:prstGeom prst="roundRect">
              <a:avLst>
                <a:gd name="adj" fmla="val 18405"/>
              </a:avLst>
            </a:prstGeom>
            <a:solidFill>
              <a:schemeClr val="accent3"/>
            </a:solidFill>
            <a:ln w="381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</a:pPr>
              <a:r>
                <a:rPr lang="en-US" altLang="zh-CN" sz="1800" b="1">
                  <a:solidFill>
                    <a:schemeClr val="bg1"/>
                  </a:solidFill>
                </a:rPr>
                <a:t>Te</a:t>
              </a:r>
              <a:r>
                <a:rPr lang="en-US" altLang="zh-CN" sz="400" b="1">
                  <a:solidFill>
                    <a:schemeClr val="bg1"/>
                  </a:solidFill>
                </a:rPr>
                <a:t> </a:t>
              </a:r>
              <a:r>
                <a:rPr lang="en-US" altLang="zh-CN" sz="1800" b="1">
                  <a:solidFill>
                    <a:schemeClr val="bg1"/>
                  </a:solidFill>
                </a:rPr>
                <a:t>xt here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8" name="iṧḷïḑê">
            <a:extLst>
              <a:ext uri="{FF2B5EF4-FFF2-40B4-BE49-F238E27FC236}">
                <a16:creationId xmlns:a16="http://schemas.microsoft.com/office/drawing/2014/main" id="{CB2D5374-770D-41B9-B371-A132B7BF21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7723188"/>
            <a:ext cx="12192000" cy="194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ïṥḷíḍè">
            <a:extLst>
              <a:ext uri="{FF2B5EF4-FFF2-40B4-BE49-F238E27FC236}">
                <a16:creationId xmlns:a16="http://schemas.microsoft.com/office/drawing/2014/main" id="{CC5B38D0-E8F6-4829-90F2-1B75DC992A4E}"/>
              </a:ext>
            </a:extLst>
          </p:cNvPr>
          <p:cNvSpPr/>
          <p:nvPr/>
        </p:nvSpPr>
        <p:spPr bwMode="auto">
          <a:xfrm>
            <a:off x="2486047" y="2754315"/>
            <a:ext cx="671202" cy="6712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7" name="iṧḷîdé">
            <a:extLst>
              <a:ext uri="{FF2B5EF4-FFF2-40B4-BE49-F238E27FC236}">
                <a16:creationId xmlns:a16="http://schemas.microsoft.com/office/drawing/2014/main" id="{3EA9496F-6FA5-4B53-A82F-17D3C4CF443F}"/>
              </a:ext>
            </a:extLst>
          </p:cNvPr>
          <p:cNvSpPr/>
          <p:nvPr/>
        </p:nvSpPr>
        <p:spPr bwMode="auto">
          <a:xfrm>
            <a:off x="2714295" y="2943370"/>
            <a:ext cx="214706" cy="293091"/>
          </a:xfrm>
          <a:custGeom>
            <a:avLst/>
            <a:gdLst>
              <a:gd name="T0" fmla="*/ 36 w 160"/>
              <a:gd name="T1" fmla="*/ 16 h 216"/>
              <a:gd name="T2" fmla="*/ 36 w 160"/>
              <a:gd name="T3" fmla="*/ 24 h 216"/>
              <a:gd name="T4" fmla="*/ 51 w 160"/>
              <a:gd name="T5" fmla="*/ 40 h 216"/>
              <a:gd name="T6" fmla="*/ 52 w 160"/>
              <a:gd name="T7" fmla="*/ 40 h 216"/>
              <a:gd name="T8" fmla="*/ 108 w 160"/>
              <a:gd name="T9" fmla="*/ 40 h 216"/>
              <a:gd name="T10" fmla="*/ 124 w 160"/>
              <a:gd name="T11" fmla="*/ 25 h 216"/>
              <a:gd name="T12" fmla="*/ 124 w 160"/>
              <a:gd name="T13" fmla="*/ 24 h 216"/>
              <a:gd name="T14" fmla="*/ 124 w 160"/>
              <a:gd name="T15" fmla="*/ 16 h 216"/>
              <a:gd name="T16" fmla="*/ 148 w 160"/>
              <a:gd name="T17" fmla="*/ 16 h 216"/>
              <a:gd name="T18" fmla="*/ 160 w 160"/>
              <a:gd name="T19" fmla="*/ 28 h 216"/>
              <a:gd name="T20" fmla="*/ 160 w 160"/>
              <a:gd name="T21" fmla="*/ 204 h 216"/>
              <a:gd name="T22" fmla="*/ 148 w 160"/>
              <a:gd name="T23" fmla="*/ 216 h 216"/>
              <a:gd name="T24" fmla="*/ 12 w 160"/>
              <a:gd name="T25" fmla="*/ 216 h 216"/>
              <a:gd name="T26" fmla="*/ 0 w 160"/>
              <a:gd name="T27" fmla="*/ 204 h 216"/>
              <a:gd name="T28" fmla="*/ 0 w 160"/>
              <a:gd name="T29" fmla="*/ 28 h 216"/>
              <a:gd name="T30" fmla="*/ 12 w 160"/>
              <a:gd name="T31" fmla="*/ 16 h 216"/>
              <a:gd name="T32" fmla="*/ 36 w 160"/>
              <a:gd name="T33" fmla="*/ 16 h 216"/>
              <a:gd name="T34" fmla="*/ 80 w 160"/>
              <a:gd name="T35" fmla="*/ 140 h 216"/>
              <a:gd name="T36" fmla="*/ 32 w 160"/>
              <a:gd name="T37" fmla="*/ 140 h 216"/>
              <a:gd name="T38" fmla="*/ 32 w 160"/>
              <a:gd name="T39" fmla="*/ 148 h 216"/>
              <a:gd name="T40" fmla="*/ 80 w 160"/>
              <a:gd name="T41" fmla="*/ 148 h 216"/>
              <a:gd name="T42" fmla="*/ 80 w 160"/>
              <a:gd name="T43" fmla="*/ 140 h 216"/>
              <a:gd name="T44" fmla="*/ 128 w 160"/>
              <a:gd name="T45" fmla="*/ 108 h 216"/>
              <a:gd name="T46" fmla="*/ 32 w 160"/>
              <a:gd name="T47" fmla="*/ 108 h 216"/>
              <a:gd name="T48" fmla="*/ 32 w 160"/>
              <a:gd name="T49" fmla="*/ 116 h 216"/>
              <a:gd name="T50" fmla="*/ 128 w 160"/>
              <a:gd name="T51" fmla="*/ 116 h 216"/>
              <a:gd name="T52" fmla="*/ 128 w 160"/>
              <a:gd name="T53" fmla="*/ 108 h 216"/>
              <a:gd name="T54" fmla="*/ 128 w 160"/>
              <a:gd name="T55" fmla="*/ 76 h 216"/>
              <a:gd name="T56" fmla="*/ 32 w 160"/>
              <a:gd name="T57" fmla="*/ 76 h 216"/>
              <a:gd name="T58" fmla="*/ 32 w 160"/>
              <a:gd name="T59" fmla="*/ 84 h 216"/>
              <a:gd name="T60" fmla="*/ 128 w 160"/>
              <a:gd name="T61" fmla="*/ 84 h 216"/>
              <a:gd name="T62" fmla="*/ 128 w 160"/>
              <a:gd name="T63" fmla="*/ 76 h 216"/>
              <a:gd name="T64" fmla="*/ 104 w 160"/>
              <a:gd name="T65" fmla="*/ 0 h 216"/>
              <a:gd name="T66" fmla="*/ 116 w 160"/>
              <a:gd name="T67" fmla="*/ 12 h 216"/>
              <a:gd name="T68" fmla="*/ 116 w 160"/>
              <a:gd name="T69" fmla="*/ 20 h 216"/>
              <a:gd name="T70" fmla="*/ 104 w 160"/>
              <a:gd name="T71" fmla="*/ 32 h 216"/>
              <a:gd name="T72" fmla="*/ 56 w 160"/>
              <a:gd name="T73" fmla="*/ 32 h 216"/>
              <a:gd name="T74" fmla="*/ 44 w 160"/>
              <a:gd name="T75" fmla="*/ 20 h 216"/>
              <a:gd name="T76" fmla="*/ 44 w 160"/>
              <a:gd name="T77" fmla="*/ 12 h 216"/>
              <a:gd name="T78" fmla="*/ 56 w 160"/>
              <a:gd name="T79" fmla="*/ 0 h 216"/>
              <a:gd name="T80" fmla="*/ 104 w 160"/>
              <a:gd name="T8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" h="216">
                <a:moveTo>
                  <a:pt x="36" y="16"/>
                </a:moveTo>
                <a:cubicBezTo>
                  <a:pt x="36" y="24"/>
                  <a:pt x="36" y="24"/>
                  <a:pt x="36" y="24"/>
                </a:cubicBezTo>
                <a:cubicBezTo>
                  <a:pt x="36" y="33"/>
                  <a:pt x="43" y="40"/>
                  <a:pt x="51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108" y="40"/>
                  <a:pt x="108" y="40"/>
                  <a:pt x="108" y="40"/>
                </a:cubicBezTo>
                <a:cubicBezTo>
                  <a:pt x="117" y="40"/>
                  <a:pt x="124" y="33"/>
                  <a:pt x="124" y="25"/>
                </a:cubicBezTo>
                <a:cubicBezTo>
                  <a:pt x="124" y="24"/>
                  <a:pt x="124" y="24"/>
                  <a:pt x="124" y="24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48" y="16"/>
                  <a:pt x="148" y="16"/>
                  <a:pt x="148" y="16"/>
                </a:cubicBezTo>
                <a:cubicBezTo>
                  <a:pt x="155" y="16"/>
                  <a:pt x="160" y="21"/>
                  <a:pt x="160" y="28"/>
                </a:cubicBezTo>
                <a:cubicBezTo>
                  <a:pt x="160" y="204"/>
                  <a:pt x="160" y="204"/>
                  <a:pt x="160" y="204"/>
                </a:cubicBezTo>
                <a:cubicBezTo>
                  <a:pt x="160" y="211"/>
                  <a:pt x="155" y="216"/>
                  <a:pt x="148" y="216"/>
                </a:cubicBezTo>
                <a:cubicBezTo>
                  <a:pt x="12" y="216"/>
                  <a:pt x="12" y="216"/>
                  <a:pt x="12" y="216"/>
                </a:cubicBezTo>
                <a:cubicBezTo>
                  <a:pt x="5" y="216"/>
                  <a:pt x="0" y="211"/>
                  <a:pt x="0" y="20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1"/>
                  <a:pt x="5" y="16"/>
                  <a:pt x="12" y="16"/>
                </a:cubicBezTo>
                <a:lnTo>
                  <a:pt x="36" y="16"/>
                </a:lnTo>
                <a:close/>
                <a:moveTo>
                  <a:pt x="80" y="140"/>
                </a:moveTo>
                <a:cubicBezTo>
                  <a:pt x="32" y="140"/>
                  <a:pt x="32" y="140"/>
                  <a:pt x="32" y="140"/>
                </a:cubicBezTo>
                <a:cubicBezTo>
                  <a:pt x="32" y="148"/>
                  <a:pt x="32" y="148"/>
                  <a:pt x="32" y="148"/>
                </a:cubicBezTo>
                <a:cubicBezTo>
                  <a:pt x="80" y="148"/>
                  <a:pt x="80" y="148"/>
                  <a:pt x="80" y="148"/>
                </a:cubicBezTo>
                <a:lnTo>
                  <a:pt x="80" y="140"/>
                </a:lnTo>
                <a:close/>
                <a:moveTo>
                  <a:pt x="128" y="108"/>
                </a:moveTo>
                <a:cubicBezTo>
                  <a:pt x="32" y="108"/>
                  <a:pt x="32" y="108"/>
                  <a:pt x="32" y="108"/>
                </a:cubicBezTo>
                <a:cubicBezTo>
                  <a:pt x="32" y="116"/>
                  <a:pt x="32" y="116"/>
                  <a:pt x="32" y="116"/>
                </a:cubicBezTo>
                <a:cubicBezTo>
                  <a:pt x="128" y="116"/>
                  <a:pt x="128" y="116"/>
                  <a:pt x="128" y="116"/>
                </a:cubicBezTo>
                <a:lnTo>
                  <a:pt x="128" y="108"/>
                </a:lnTo>
                <a:close/>
                <a:moveTo>
                  <a:pt x="128" y="76"/>
                </a:moveTo>
                <a:cubicBezTo>
                  <a:pt x="32" y="76"/>
                  <a:pt x="32" y="76"/>
                  <a:pt x="32" y="76"/>
                </a:cubicBezTo>
                <a:cubicBezTo>
                  <a:pt x="32" y="84"/>
                  <a:pt x="32" y="84"/>
                  <a:pt x="32" y="84"/>
                </a:cubicBezTo>
                <a:cubicBezTo>
                  <a:pt x="128" y="84"/>
                  <a:pt x="128" y="84"/>
                  <a:pt x="128" y="84"/>
                </a:cubicBezTo>
                <a:lnTo>
                  <a:pt x="128" y="76"/>
                </a:lnTo>
                <a:close/>
                <a:moveTo>
                  <a:pt x="104" y="0"/>
                </a:moveTo>
                <a:cubicBezTo>
                  <a:pt x="111" y="0"/>
                  <a:pt x="116" y="5"/>
                  <a:pt x="116" y="12"/>
                </a:cubicBezTo>
                <a:cubicBezTo>
                  <a:pt x="116" y="20"/>
                  <a:pt x="116" y="20"/>
                  <a:pt x="116" y="20"/>
                </a:cubicBezTo>
                <a:cubicBezTo>
                  <a:pt x="116" y="27"/>
                  <a:pt x="111" y="32"/>
                  <a:pt x="104" y="32"/>
                </a:cubicBezTo>
                <a:cubicBezTo>
                  <a:pt x="56" y="32"/>
                  <a:pt x="56" y="32"/>
                  <a:pt x="56" y="32"/>
                </a:cubicBezTo>
                <a:cubicBezTo>
                  <a:pt x="49" y="32"/>
                  <a:pt x="44" y="27"/>
                  <a:pt x="44" y="20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5"/>
                  <a:pt x="49" y="0"/>
                  <a:pt x="56" y="0"/>
                </a:cubicBezTo>
                <a:lnTo>
                  <a:pt x="10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8" name="i$ḷiḑè">
            <a:extLst>
              <a:ext uri="{FF2B5EF4-FFF2-40B4-BE49-F238E27FC236}">
                <a16:creationId xmlns:a16="http://schemas.microsoft.com/office/drawing/2014/main" id="{CFC04095-FEA0-4154-87EF-0AD188EB003A}"/>
              </a:ext>
            </a:extLst>
          </p:cNvPr>
          <p:cNvSpPr/>
          <p:nvPr/>
        </p:nvSpPr>
        <p:spPr bwMode="auto">
          <a:xfrm>
            <a:off x="5751049" y="2754315"/>
            <a:ext cx="671202" cy="6712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9" name="íš1íḋè">
            <a:extLst>
              <a:ext uri="{FF2B5EF4-FFF2-40B4-BE49-F238E27FC236}">
                <a16:creationId xmlns:a16="http://schemas.microsoft.com/office/drawing/2014/main" id="{7AEC36E4-B547-4F71-BFA5-190E7D41C1EB}"/>
              </a:ext>
            </a:extLst>
          </p:cNvPr>
          <p:cNvSpPr/>
          <p:nvPr/>
        </p:nvSpPr>
        <p:spPr bwMode="auto">
          <a:xfrm>
            <a:off x="5940105" y="2945026"/>
            <a:ext cx="293091" cy="289779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0" name="iṣ1ïďe">
            <a:extLst>
              <a:ext uri="{FF2B5EF4-FFF2-40B4-BE49-F238E27FC236}">
                <a16:creationId xmlns:a16="http://schemas.microsoft.com/office/drawing/2014/main" id="{19066BB6-E799-4F8B-A3AD-A434CD9C8E65}"/>
              </a:ext>
            </a:extLst>
          </p:cNvPr>
          <p:cNvSpPr/>
          <p:nvPr/>
        </p:nvSpPr>
        <p:spPr bwMode="auto">
          <a:xfrm>
            <a:off x="9016051" y="2754315"/>
            <a:ext cx="671202" cy="671200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1" name="ï$ľîḍé">
            <a:extLst>
              <a:ext uri="{FF2B5EF4-FFF2-40B4-BE49-F238E27FC236}">
                <a16:creationId xmlns:a16="http://schemas.microsoft.com/office/drawing/2014/main" id="{EA268262-C36C-4D2B-A2D5-6C37A8237B82}"/>
              </a:ext>
            </a:extLst>
          </p:cNvPr>
          <p:cNvSpPr/>
          <p:nvPr/>
        </p:nvSpPr>
        <p:spPr bwMode="auto">
          <a:xfrm>
            <a:off x="9205107" y="2971817"/>
            <a:ext cx="293091" cy="236196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37172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ḷí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ŝlïďé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S1íḓé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ṥlídê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44" name="íśḻîḓê">
            <a:extLst>
              <a:ext uri="{FF2B5EF4-FFF2-40B4-BE49-F238E27FC236}">
                <a16:creationId xmlns:a16="http://schemas.microsoft.com/office/drawing/2014/main" id="{52DE6E4C-7AEC-4BCB-A20C-52BE72225412}"/>
              </a:ext>
            </a:extLst>
          </p:cNvPr>
          <p:cNvSpPr/>
          <p:nvPr/>
        </p:nvSpPr>
        <p:spPr>
          <a:xfrm>
            <a:off x="0" y="422275"/>
            <a:ext cx="12192000" cy="3055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endParaRPr lang="zh-CN" altLang="en-US"/>
          </a:p>
        </p:txBody>
      </p:sp>
      <p:sp>
        <p:nvSpPr>
          <p:cNvPr id="62" name="íṣḷíḍè">
            <a:extLst>
              <a:ext uri="{FF2B5EF4-FFF2-40B4-BE49-F238E27FC236}">
                <a16:creationId xmlns:a16="http://schemas.microsoft.com/office/drawing/2014/main" id="{C2002AF8-1AF7-4542-AA11-C14604D97E93}"/>
              </a:ext>
            </a:extLst>
          </p:cNvPr>
          <p:cNvSpPr/>
          <p:nvPr/>
        </p:nvSpPr>
        <p:spPr>
          <a:xfrm>
            <a:off x="7479857" y="4511321"/>
            <a:ext cx="949506" cy="949506"/>
          </a:xfrm>
          <a:prstGeom prst="ellipse">
            <a:avLst/>
          </a:prstGeom>
          <a:solidFill>
            <a:schemeClr val="accent2"/>
          </a:solidFill>
          <a:ln w="571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/>
          </a:p>
        </p:txBody>
      </p:sp>
      <p:sp>
        <p:nvSpPr>
          <p:cNvPr id="61" name="îşľiḍé">
            <a:extLst>
              <a:ext uri="{FF2B5EF4-FFF2-40B4-BE49-F238E27FC236}">
                <a16:creationId xmlns:a16="http://schemas.microsoft.com/office/drawing/2014/main" id="{930AB755-72A6-42B5-8F82-414BAC21E940}"/>
              </a:ext>
            </a:extLst>
          </p:cNvPr>
          <p:cNvSpPr/>
          <p:nvPr/>
        </p:nvSpPr>
        <p:spPr>
          <a:xfrm>
            <a:off x="1053530" y="4520237"/>
            <a:ext cx="949506" cy="949506"/>
          </a:xfrm>
          <a:prstGeom prst="ellipse">
            <a:avLst/>
          </a:prstGeom>
          <a:solidFill>
            <a:schemeClr val="accent1"/>
          </a:solidFill>
          <a:ln w="571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/>
          </a:p>
        </p:txBody>
      </p:sp>
      <p:sp>
        <p:nvSpPr>
          <p:cNvPr id="45" name="íśḷîďê">
            <a:extLst>
              <a:ext uri="{FF2B5EF4-FFF2-40B4-BE49-F238E27FC236}">
                <a16:creationId xmlns:a16="http://schemas.microsoft.com/office/drawing/2014/main" id="{3E6BD6BA-3902-42EB-8004-248BD701B800}"/>
              </a:ext>
            </a:extLst>
          </p:cNvPr>
          <p:cNvSpPr/>
          <p:nvPr/>
        </p:nvSpPr>
        <p:spPr>
          <a:xfrm>
            <a:off x="0" y="1130300"/>
            <a:ext cx="12192000" cy="1930400"/>
          </a:xfrm>
          <a:prstGeom prst="rect">
            <a:avLst/>
          </a:prstGeom>
          <a:blipFill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6" name="ïṥľïďê">
            <a:extLst>
              <a:ext uri="{FF2B5EF4-FFF2-40B4-BE49-F238E27FC236}">
                <a16:creationId xmlns:a16="http://schemas.microsoft.com/office/drawing/2014/main" id="{5DCC7516-95FC-43CF-BB5B-35ED1678DBCD}"/>
              </a:ext>
            </a:extLst>
          </p:cNvPr>
          <p:cNvSpPr/>
          <p:nvPr/>
        </p:nvSpPr>
        <p:spPr bwMode="auto">
          <a:xfrm>
            <a:off x="660399" y="3145475"/>
            <a:ext cx="10858500" cy="828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/>
              <a:t>Unified fonts make reading more fluent. Theme color makes PPT more convenient to change. Adjust the spacing to adapt to Chinese typesetting, use the reference line in PPT ……</a:t>
            </a:r>
          </a:p>
        </p:txBody>
      </p:sp>
      <p:sp>
        <p:nvSpPr>
          <p:cNvPr id="47" name="iṡ1ïďe">
            <a:extLst>
              <a:ext uri="{FF2B5EF4-FFF2-40B4-BE49-F238E27FC236}">
                <a16:creationId xmlns:a16="http://schemas.microsoft.com/office/drawing/2014/main" id="{1E821095-9887-4579-82D5-7DAB2B4595F3}"/>
              </a:ext>
            </a:extLst>
          </p:cNvPr>
          <p:cNvSpPr txBox="1"/>
          <p:nvPr/>
        </p:nvSpPr>
        <p:spPr>
          <a:xfrm>
            <a:off x="0" y="2520700"/>
            <a:ext cx="12192000" cy="54000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38100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 dirty="0"/>
              <a:t>TEXT HERE</a:t>
            </a:r>
            <a:endParaRPr lang="id-ID" sz="2000" b="1" dirty="0"/>
          </a:p>
        </p:txBody>
      </p:sp>
      <p:sp>
        <p:nvSpPr>
          <p:cNvPr id="63" name="iṡḻiḑè">
            <a:extLst>
              <a:ext uri="{FF2B5EF4-FFF2-40B4-BE49-F238E27FC236}">
                <a16:creationId xmlns:a16="http://schemas.microsoft.com/office/drawing/2014/main" id="{2F73DD9E-414F-430A-A566-EEE697D4D924}"/>
              </a:ext>
            </a:extLst>
          </p:cNvPr>
          <p:cNvSpPr/>
          <p:nvPr/>
        </p:nvSpPr>
        <p:spPr>
          <a:xfrm>
            <a:off x="1262939" y="4772859"/>
            <a:ext cx="530689" cy="444262"/>
          </a:xfrm>
          <a:custGeom>
            <a:avLst/>
            <a:gdLst>
              <a:gd name="T0" fmla="*/ 203 w 222"/>
              <a:gd name="T1" fmla="*/ 56 h 184"/>
              <a:gd name="T2" fmla="*/ 222 w 222"/>
              <a:gd name="T3" fmla="*/ 75 h 184"/>
              <a:gd name="T4" fmla="*/ 221 w 222"/>
              <a:gd name="T5" fmla="*/ 76 h 184"/>
              <a:gd name="T6" fmla="*/ 216 w 222"/>
              <a:gd name="T7" fmla="*/ 149 h 184"/>
              <a:gd name="T8" fmla="*/ 204 w 222"/>
              <a:gd name="T9" fmla="*/ 160 h 184"/>
              <a:gd name="T10" fmla="*/ 191 w 222"/>
              <a:gd name="T11" fmla="*/ 160 h 184"/>
              <a:gd name="T12" fmla="*/ 191 w 222"/>
              <a:gd name="T13" fmla="*/ 184 h 184"/>
              <a:gd name="T14" fmla="*/ 183 w 222"/>
              <a:gd name="T15" fmla="*/ 184 h 184"/>
              <a:gd name="T16" fmla="*/ 183 w 222"/>
              <a:gd name="T17" fmla="*/ 160 h 184"/>
              <a:gd name="T18" fmla="*/ 39 w 222"/>
              <a:gd name="T19" fmla="*/ 160 h 184"/>
              <a:gd name="T20" fmla="*/ 39 w 222"/>
              <a:gd name="T21" fmla="*/ 184 h 184"/>
              <a:gd name="T22" fmla="*/ 31 w 222"/>
              <a:gd name="T23" fmla="*/ 184 h 184"/>
              <a:gd name="T24" fmla="*/ 31 w 222"/>
              <a:gd name="T25" fmla="*/ 160 h 184"/>
              <a:gd name="T26" fmla="*/ 18 w 222"/>
              <a:gd name="T27" fmla="*/ 160 h 184"/>
              <a:gd name="T28" fmla="*/ 6 w 222"/>
              <a:gd name="T29" fmla="*/ 149 h 184"/>
              <a:gd name="T30" fmla="*/ 1 w 222"/>
              <a:gd name="T31" fmla="*/ 76 h 184"/>
              <a:gd name="T32" fmla="*/ 18 w 222"/>
              <a:gd name="T33" fmla="*/ 56 h 184"/>
              <a:gd name="T34" fmla="*/ 19 w 222"/>
              <a:gd name="T35" fmla="*/ 56 h 184"/>
              <a:gd name="T36" fmla="*/ 43 w 222"/>
              <a:gd name="T37" fmla="*/ 76 h 184"/>
              <a:gd name="T38" fmla="*/ 51 w 222"/>
              <a:gd name="T39" fmla="*/ 120 h 184"/>
              <a:gd name="T40" fmla="*/ 171 w 222"/>
              <a:gd name="T41" fmla="*/ 120 h 184"/>
              <a:gd name="T42" fmla="*/ 179 w 222"/>
              <a:gd name="T43" fmla="*/ 76 h 184"/>
              <a:gd name="T44" fmla="*/ 203 w 222"/>
              <a:gd name="T45" fmla="*/ 56 h 184"/>
              <a:gd name="T46" fmla="*/ 175 w 222"/>
              <a:gd name="T47" fmla="*/ 0 h 184"/>
              <a:gd name="T48" fmla="*/ 203 w 222"/>
              <a:gd name="T49" fmla="*/ 28 h 184"/>
              <a:gd name="T50" fmla="*/ 203 w 222"/>
              <a:gd name="T51" fmla="*/ 48 h 184"/>
              <a:gd name="T52" fmla="*/ 200 w 222"/>
              <a:gd name="T53" fmla="*/ 48 h 184"/>
              <a:gd name="T54" fmla="*/ 173 w 222"/>
              <a:gd name="T55" fmla="*/ 70 h 184"/>
              <a:gd name="T56" fmla="*/ 173 w 222"/>
              <a:gd name="T57" fmla="*/ 71 h 184"/>
              <a:gd name="T58" fmla="*/ 165 w 222"/>
              <a:gd name="T59" fmla="*/ 112 h 184"/>
              <a:gd name="T60" fmla="*/ 57 w 222"/>
              <a:gd name="T61" fmla="*/ 112 h 184"/>
              <a:gd name="T62" fmla="*/ 49 w 222"/>
              <a:gd name="T63" fmla="*/ 71 h 184"/>
              <a:gd name="T64" fmla="*/ 22 w 222"/>
              <a:gd name="T65" fmla="*/ 48 h 184"/>
              <a:gd name="T66" fmla="*/ 23 w 222"/>
              <a:gd name="T67" fmla="*/ 28 h 184"/>
              <a:gd name="T68" fmla="*/ 51 w 222"/>
              <a:gd name="T69" fmla="*/ 0 h 184"/>
              <a:gd name="T70" fmla="*/ 175 w 222"/>
              <a:gd name="T71" fmla="*/ 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2" h="184">
                <a:moveTo>
                  <a:pt x="203" y="56"/>
                </a:moveTo>
                <a:cubicBezTo>
                  <a:pt x="213" y="56"/>
                  <a:pt x="222" y="64"/>
                  <a:pt x="222" y="75"/>
                </a:cubicBezTo>
                <a:cubicBezTo>
                  <a:pt x="222" y="75"/>
                  <a:pt x="222" y="75"/>
                  <a:pt x="221" y="76"/>
                </a:cubicBezTo>
                <a:cubicBezTo>
                  <a:pt x="216" y="149"/>
                  <a:pt x="216" y="149"/>
                  <a:pt x="216" y="149"/>
                </a:cubicBezTo>
                <a:cubicBezTo>
                  <a:pt x="215" y="155"/>
                  <a:pt x="210" y="160"/>
                  <a:pt x="204" y="160"/>
                </a:cubicBezTo>
                <a:cubicBezTo>
                  <a:pt x="191" y="160"/>
                  <a:pt x="191" y="160"/>
                  <a:pt x="191" y="160"/>
                </a:cubicBezTo>
                <a:cubicBezTo>
                  <a:pt x="191" y="184"/>
                  <a:pt x="191" y="184"/>
                  <a:pt x="191" y="184"/>
                </a:cubicBezTo>
                <a:cubicBezTo>
                  <a:pt x="183" y="184"/>
                  <a:pt x="183" y="184"/>
                  <a:pt x="183" y="184"/>
                </a:cubicBezTo>
                <a:cubicBezTo>
                  <a:pt x="183" y="160"/>
                  <a:pt x="183" y="160"/>
                  <a:pt x="183" y="160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39" y="184"/>
                  <a:pt x="39" y="184"/>
                  <a:pt x="39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31" y="160"/>
                  <a:pt x="31" y="160"/>
                  <a:pt x="31" y="160"/>
                </a:cubicBezTo>
                <a:cubicBezTo>
                  <a:pt x="18" y="160"/>
                  <a:pt x="18" y="160"/>
                  <a:pt x="18" y="160"/>
                </a:cubicBezTo>
                <a:cubicBezTo>
                  <a:pt x="12" y="160"/>
                  <a:pt x="7" y="155"/>
                  <a:pt x="6" y="149"/>
                </a:cubicBezTo>
                <a:cubicBezTo>
                  <a:pt x="1" y="76"/>
                  <a:pt x="1" y="76"/>
                  <a:pt x="1" y="76"/>
                </a:cubicBezTo>
                <a:cubicBezTo>
                  <a:pt x="0" y="66"/>
                  <a:pt x="7" y="57"/>
                  <a:pt x="18" y="56"/>
                </a:cubicBezTo>
                <a:cubicBezTo>
                  <a:pt x="18" y="56"/>
                  <a:pt x="19" y="56"/>
                  <a:pt x="19" y="56"/>
                </a:cubicBezTo>
                <a:cubicBezTo>
                  <a:pt x="31" y="56"/>
                  <a:pt x="41" y="64"/>
                  <a:pt x="43" y="76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171" y="120"/>
                  <a:pt x="171" y="120"/>
                  <a:pt x="171" y="120"/>
                </a:cubicBezTo>
                <a:cubicBezTo>
                  <a:pt x="179" y="76"/>
                  <a:pt x="179" y="76"/>
                  <a:pt x="179" y="76"/>
                </a:cubicBezTo>
                <a:cubicBezTo>
                  <a:pt x="181" y="64"/>
                  <a:pt x="191" y="56"/>
                  <a:pt x="203" y="56"/>
                </a:cubicBezTo>
                <a:close/>
                <a:moveTo>
                  <a:pt x="175" y="0"/>
                </a:moveTo>
                <a:cubicBezTo>
                  <a:pt x="190" y="0"/>
                  <a:pt x="203" y="13"/>
                  <a:pt x="203" y="28"/>
                </a:cubicBezTo>
                <a:cubicBezTo>
                  <a:pt x="203" y="48"/>
                  <a:pt x="203" y="48"/>
                  <a:pt x="203" y="48"/>
                </a:cubicBezTo>
                <a:cubicBezTo>
                  <a:pt x="202" y="48"/>
                  <a:pt x="201" y="48"/>
                  <a:pt x="200" y="48"/>
                </a:cubicBezTo>
                <a:cubicBezTo>
                  <a:pt x="187" y="48"/>
                  <a:pt x="176" y="57"/>
                  <a:pt x="173" y="70"/>
                </a:cubicBezTo>
                <a:cubicBezTo>
                  <a:pt x="173" y="71"/>
                  <a:pt x="173" y="71"/>
                  <a:pt x="173" y="71"/>
                </a:cubicBezTo>
                <a:cubicBezTo>
                  <a:pt x="165" y="112"/>
                  <a:pt x="165" y="112"/>
                  <a:pt x="165" y="112"/>
                </a:cubicBezTo>
                <a:cubicBezTo>
                  <a:pt x="57" y="112"/>
                  <a:pt x="57" y="112"/>
                  <a:pt x="57" y="112"/>
                </a:cubicBezTo>
                <a:cubicBezTo>
                  <a:pt x="49" y="71"/>
                  <a:pt x="49" y="71"/>
                  <a:pt x="49" y="71"/>
                </a:cubicBezTo>
                <a:cubicBezTo>
                  <a:pt x="47" y="57"/>
                  <a:pt x="35" y="48"/>
                  <a:pt x="22" y="48"/>
                </a:cubicBezTo>
                <a:cubicBezTo>
                  <a:pt x="23" y="28"/>
                  <a:pt x="23" y="28"/>
                  <a:pt x="23" y="28"/>
                </a:cubicBezTo>
                <a:cubicBezTo>
                  <a:pt x="23" y="13"/>
                  <a:pt x="36" y="0"/>
                  <a:pt x="51" y="0"/>
                </a:cubicBezTo>
                <a:lnTo>
                  <a:pt x="175" y="0"/>
                </a:ln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57" name="ïŝļïḑé">
            <a:extLst>
              <a:ext uri="{FF2B5EF4-FFF2-40B4-BE49-F238E27FC236}">
                <a16:creationId xmlns:a16="http://schemas.microsoft.com/office/drawing/2014/main" id="{BB16A146-C41A-4C5E-84EB-D62C6B93DC38}"/>
              </a:ext>
            </a:extLst>
          </p:cNvPr>
          <p:cNvSpPr txBox="1"/>
          <p:nvPr/>
        </p:nvSpPr>
        <p:spPr>
          <a:xfrm>
            <a:off x="2371934" y="4520237"/>
            <a:ext cx="2764088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58" name="íṩlîdê">
            <a:extLst>
              <a:ext uri="{FF2B5EF4-FFF2-40B4-BE49-F238E27FC236}">
                <a16:creationId xmlns:a16="http://schemas.microsoft.com/office/drawing/2014/main" id="{2BA54399-422D-41BE-B100-8CF5831C9030}"/>
              </a:ext>
            </a:extLst>
          </p:cNvPr>
          <p:cNvSpPr/>
          <p:nvPr/>
        </p:nvSpPr>
        <p:spPr bwMode="auto">
          <a:xfrm>
            <a:off x="2371934" y="4940765"/>
            <a:ext cx="2764088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53" name="iṧľiḓe">
            <a:extLst>
              <a:ext uri="{FF2B5EF4-FFF2-40B4-BE49-F238E27FC236}">
                <a16:creationId xmlns:a16="http://schemas.microsoft.com/office/drawing/2014/main" id="{A7DDA77E-057C-4D06-B067-11168FA5F1EC}"/>
              </a:ext>
            </a:extLst>
          </p:cNvPr>
          <p:cNvSpPr txBox="1"/>
          <p:nvPr/>
        </p:nvSpPr>
        <p:spPr>
          <a:xfrm>
            <a:off x="8754812" y="4520237"/>
            <a:ext cx="2764088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54" name="íṩḷïdê">
            <a:extLst>
              <a:ext uri="{FF2B5EF4-FFF2-40B4-BE49-F238E27FC236}">
                <a16:creationId xmlns:a16="http://schemas.microsoft.com/office/drawing/2014/main" id="{5F66518C-9198-4F09-B86E-F82335659EA3}"/>
              </a:ext>
            </a:extLst>
          </p:cNvPr>
          <p:cNvSpPr/>
          <p:nvPr/>
        </p:nvSpPr>
        <p:spPr bwMode="auto">
          <a:xfrm>
            <a:off x="8754812" y="4940765"/>
            <a:ext cx="2764088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cxnSp>
        <p:nvCxnSpPr>
          <p:cNvPr id="52" name="iṣ1ide">
            <a:extLst>
              <a:ext uri="{FF2B5EF4-FFF2-40B4-BE49-F238E27FC236}">
                <a16:creationId xmlns:a16="http://schemas.microsoft.com/office/drawing/2014/main" id="{1EEDF8A9-CFD0-4DC4-ACBA-95BD5B641776}"/>
              </a:ext>
            </a:extLst>
          </p:cNvPr>
          <p:cNvCxnSpPr/>
          <p:nvPr/>
        </p:nvCxnSpPr>
        <p:spPr>
          <a:xfrm>
            <a:off x="6032500" y="4077721"/>
            <a:ext cx="0" cy="1980844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ïSļíḓe">
            <a:extLst>
              <a:ext uri="{FF2B5EF4-FFF2-40B4-BE49-F238E27FC236}">
                <a16:creationId xmlns:a16="http://schemas.microsoft.com/office/drawing/2014/main" id="{C4EF6163-A77E-44EC-91E2-BDABBD743EB3}"/>
              </a:ext>
            </a:extLst>
          </p:cNvPr>
          <p:cNvSpPr/>
          <p:nvPr/>
        </p:nvSpPr>
        <p:spPr>
          <a:xfrm>
            <a:off x="7689266" y="4723728"/>
            <a:ext cx="530689" cy="524692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75798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ḻ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ṣliďe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şļîḓe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şḷîḓê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178" name="îSľiďe">
            <a:extLst>
              <a:ext uri="{FF2B5EF4-FFF2-40B4-BE49-F238E27FC236}">
                <a16:creationId xmlns:a16="http://schemas.microsoft.com/office/drawing/2014/main" id="{98CAC6EF-F395-4577-B355-CF6D45C7424F}"/>
              </a:ext>
            </a:extLst>
          </p:cNvPr>
          <p:cNvSpPr/>
          <p:nvPr/>
        </p:nvSpPr>
        <p:spPr>
          <a:xfrm>
            <a:off x="1020531" y="2101326"/>
            <a:ext cx="3066511" cy="3066511"/>
          </a:xfrm>
          <a:prstGeom prst="ellipse">
            <a:avLst/>
          </a:prstGeom>
          <a:blipFill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762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53" name="íŝ1iďé">
            <a:extLst>
              <a:ext uri="{FF2B5EF4-FFF2-40B4-BE49-F238E27FC236}">
                <a16:creationId xmlns:a16="http://schemas.microsoft.com/office/drawing/2014/main" id="{71913831-3843-4E18-8D7A-287B210C12EA}"/>
              </a:ext>
            </a:extLst>
          </p:cNvPr>
          <p:cNvSpPr txBox="1"/>
          <p:nvPr/>
        </p:nvSpPr>
        <p:spPr>
          <a:xfrm>
            <a:off x="4547412" y="1951022"/>
            <a:ext cx="6542342" cy="782344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25000"/>
            </a:pPr>
            <a:r>
              <a:rPr lang="en-US" sz="2000" b="1" dirty="0">
                <a:ea typeface="Calibri"/>
                <a:cs typeface="Calibri"/>
                <a:sym typeface="Calibri"/>
              </a:rPr>
              <a:t>Unified fonts make reading more fluent.</a:t>
            </a:r>
          </a:p>
        </p:txBody>
      </p:sp>
      <p:sp>
        <p:nvSpPr>
          <p:cNvPr id="154" name="íṣḻidè">
            <a:extLst>
              <a:ext uri="{FF2B5EF4-FFF2-40B4-BE49-F238E27FC236}">
                <a16:creationId xmlns:a16="http://schemas.microsoft.com/office/drawing/2014/main" id="{6F9670D7-7DD7-4BF4-9A77-9D4E3C58D658}"/>
              </a:ext>
            </a:extLst>
          </p:cNvPr>
          <p:cNvSpPr txBox="1"/>
          <p:nvPr/>
        </p:nvSpPr>
        <p:spPr>
          <a:xfrm>
            <a:off x="4547410" y="2733366"/>
            <a:ext cx="6542344" cy="1042172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25000"/>
            </a:pPr>
            <a:r>
              <a:rPr lang="en-US" sz="1200" dirty="0">
                <a:ea typeface="Calibri"/>
                <a:cs typeface="Calibri"/>
                <a:sym typeface="Calibri"/>
              </a:rPr>
              <a:t>Theme color makes PPT more convenient to change.</a:t>
            </a:r>
          </a:p>
          <a:p>
            <a:pPr>
              <a:buSzPct val="25000"/>
            </a:pPr>
            <a:r>
              <a:rPr lang="en-US" sz="1200" dirty="0">
                <a:ea typeface="Calibri"/>
                <a:cs typeface="Calibri"/>
                <a:sym typeface="Calibri"/>
              </a:rPr>
              <a:t>Adjust the spacing to adapt to Chinese typesetting, use the reference line in </a:t>
            </a:r>
            <a:r>
              <a:rPr lang="en-US" sz="1200">
                <a:ea typeface="Calibri"/>
                <a:cs typeface="Calibri"/>
                <a:sym typeface="Calibri"/>
              </a:rPr>
              <a:t>PPT.</a:t>
            </a:r>
          </a:p>
          <a:p>
            <a:pPr>
              <a:buSzPct val="25000"/>
            </a:pPr>
            <a:r>
              <a:rPr lang="en-US" sz="1200">
                <a:ea typeface="Calibri"/>
                <a:cs typeface="Calibri"/>
                <a:sym typeface="Calibri"/>
              </a:rPr>
              <a:t>… …</a:t>
            </a:r>
          </a:p>
        </p:txBody>
      </p:sp>
      <p:grpSp>
        <p:nvGrpSpPr>
          <p:cNvPr id="155" name="îşḷïḍe">
            <a:extLst>
              <a:ext uri="{FF2B5EF4-FFF2-40B4-BE49-F238E27FC236}">
                <a16:creationId xmlns:a16="http://schemas.microsoft.com/office/drawing/2014/main" id="{697465FD-E373-4931-9D7A-73C831EF8F63}"/>
              </a:ext>
            </a:extLst>
          </p:cNvPr>
          <p:cNvGrpSpPr/>
          <p:nvPr/>
        </p:nvGrpSpPr>
        <p:grpSpPr>
          <a:xfrm>
            <a:off x="4179959" y="3659185"/>
            <a:ext cx="7039696" cy="1874598"/>
            <a:chOff x="4849743" y="3819730"/>
            <a:chExt cx="7039696" cy="1874598"/>
          </a:xfrm>
        </p:grpSpPr>
        <p:grpSp>
          <p:nvGrpSpPr>
            <p:cNvPr id="156" name="íslíḓé">
              <a:extLst>
                <a:ext uri="{FF2B5EF4-FFF2-40B4-BE49-F238E27FC236}">
                  <a16:creationId xmlns:a16="http://schemas.microsoft.com/office/drawing/2014/main" id="{5DAC57D4-80FF-4362-93C0-8ED51C8A65CC}"/>
                </a:ext>
              </a:extLst>
            </p:cNvPr>
            <p:cNvGrpSpPr/>
            <p:nvPr/>
          </p:nvGrpSpPr>
          <p:grpSpPr>
            <a:xfrm>
              <a:off x="4849743" y="3819730"/>
              <a:ext cx="2206438" cy="1874598"/>
              <a:chOff x="4867462" y="3964836"/>
              <a:chExt cx="2206438" cy="1874598"/>
            </a:xfrm>
          </p:grpSpPr>
          <p:grpSp>
            <p:nvGrpSpPr>
              <p:cNvPr id="171" name="îṥľïdè">
                <a:extLst>
                  <a:ext uri="{FF2B5EF4-FFF2-40B4-BE49-F238E27FC236}">
                    <a16:creationId xmlns:a16="http://schemas.microsoft.com/office/drawing/2014/main" id="{336BFB9C-2C0E-427D-94F5-CF4ACC89A436}"/>
                  </a:ext>
                </a:extLst>
              </p:cNvPr>
              <p:cNvGrpSpPr/>
              <p:nvPr/>
            </p:nvGrpSpPr>
            <p:grpSpPr>
              <a:xfrm>
                <a:off x="5717513" y="3964836"/>
                <a:ext cx="506338" cy="506336"/>
                <a:chOff x="915512" y="2993687"/>
                <a:chExt cx="573786" cy="573785"/>
              </a:xfrm>
            </p:grpSpPr>
            <p:sp>
              <p:nvSpPr>
                <p:cNvPr id="175" name="ïṣḷiďe">
                  <a:extLst>
                    <a:ext uri="{FF2B5EF4-FFF2-40B4-BE49-F238E27FC236}">
                      <a16:creationId xmlns:a16="http://schemas.microsoft.com/office/drawing/2014/main" id="{6BB90E30-D0B3-4C61-AB6B-3CD33A92D902}"/>
                    </a:ext>
                  </a:extLst>
                </p:cNvPr>
                <p:cNvSpPr/>
                <p:nvPr/>
              </p:nvSpPr>
              <p:spPr bwMode="auto">
                <a:xfrm>
                  <a:off x="915512" y="2993687"/>
                  <a:ext cx="573786" cy="573785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6" name="iṥ1ïḍe">
                  <a:extLst>
                    <a:ext uri="{FF2B5EF4-FFF2-40B4-BE49-F238E27FC236}">
                      <a16:creationId xmlns:a16="http://schemas.microsoft.com/office/drawing/2014/main" id="{C8B8FC1F-A1E0-4174-8765-DF624C4BE12C}"/>
                    </a:ext>
                  </a:extLst>
                </p:cNvPr>
                <p:cNvSpPr/>
                <p:nvPr/>
              </p:nvSpPr>
              <p:spPr bwMode="auto">
                <a:xfrm>
                  <a:off x="1078108" y="3180412"/>
                  <a:ext cx="248594" cy="200337"/>
                </a:xfrm>
                <a:custGeom>
                  <a:avLst/>
                  <a:gdLst>
                    <a:gd name="T0" fmla="*/ 204 w 216"/>
                    <a:gd name="T1" fmla="*/ 0 h 172"/>
                    <a:gd name="T2" fmla="*/ 216 w 216"/>
                    <a:gd name="T3" fmla="*/ 12 h 172"/>
                    <a:gd name="T4" fmla="*/ 216 w 216"/>
                    <a:gd name="T5" fmla="*/ 136 h 172"/>
                    <a:gd name="T6" fmla="*/ 204 w 216"/>
                    <a:gd name="T7" fmla="*/ 148 h 172"/>
                    <a:gd name="T8" fmla="*/ 80 w 216"/>
                    <a:gd name="T9" fmla="*/ 148 h 172"/>
                    <a:gd name="T10" fmla="*/ 48 w 216"/>
                    <a:gd name="T11" fmla="*/ 172 h 172"/>
                    <a:gd name="T12" fmla="*/ 48 w 216"/>
                    <a:gd name="T13" fmla="*/ 148 h 172"/>
                    <a:gd name="T14" fmla="*/ 12 w 216"/>
                    <a:gd name="T15" fmla="*/ 148 h 172"/>
                    <a:gd name="T16" fmla="*/ 0 w 216"/>
                    <a:gd name="T17" fmla="*/ 136 h 172"/>
                    <a:gd name="T18" fmla="*/ 0 w 216"/>
                    <a:gd name="T19" fmla="*/ 12 h 172"/>
                    <a:gd name="T20" fmla="*/ 12 w 216"/>
                    <a:gd name="T21" fmla="*/ 0 h 172"/>
                    <a:gd name="T22" fmla="*/ 204 w 216"/>
                    <a:gd name="T23" fmla="*/ 0 h 172"/>
                    <a:gd name="T24" fmla="*/ 52 w 216"/>
                    <a:gd name="T25" fmla="*/ 60 h 172"/>
                    <a:gd name="T26" fmla="*/ 38 w 216"/>
                    <a:gd name="T27" fmla="*/ 74 h 172"/>
                    <a:gd name="T28" fmla="*/ 52 w 216"/>
                    <a:gd name="T29" fmla="*/ 88 h 172"/>
                    <a:gd name="T30" fmla="*/ 66 w 216"/>
                    <a:gd name="T31" fmla="*/ 74 h 172"/>
                    <a:gd name="T32" fmla="*/ 52 w 216"/>
                    <a:gd name="T33" fmla="*/ 60 h 172"/>
                    <a:gd name="T34" fmla="*/ 108 w 216"/>
                    <a:gd name="T35" fmla="*/ 60 h 172"/>
                    <a:gd name="T36" fmla="*/ 94 w 216"/>
                    <a:gd name="T37" fmla="*/ 74 h 172"/>
                    <a:gd name="T38" fmla="*/ 108 w 216"/>
                    <a:gd name="T39" fmla="*/ 88 h 172"/>
                    <a:gd name="T40" fmla="*/ 122 w 216"/>
                    <a:gd name="T41" fmla="*/ 74 h 172"/>
                    <a:gd name="T42" fmla="*/ 108 w 216"/>
                    <a:gd name="T43" fmla="*/ 60 h 172"/>
                    <a:gd name="T44" fmla="*/ 164 w 216"/>
                    <a:gd name="T45" fmla="*/ 60 h 172"/>
                    <a:gd name="T46" fmla="*/ 150 w 216"/>
                    <a:gd name="T47" fmla="*/ 74 h 172"/>
                    <a:gd name="T48" fmla="*/ 164 w 216"/>
                    <a:gd name="T49" fmla="*/ 88 h 172"/>
                    <a:gd name="T50" fmla="*/ 178 w 216"/>
                    <a:gd name="T51" fmla="*/ 74 h 172"/>
                    <a:gd name="T52" fmla="*/ 164 w 216"/>
                    <a:gd name="T53" fmla="*/ 60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16" h="172">
                      <a:moveTo>
                        <a:pt x="204" y="0"/>
                      </a:moveTo>
                      <a:cubicBezTo>
                        <a:pt x="211" y="0"/>
                        <a:pt x="216" y="5"/>
                        <a:pt x="216" y="12"/>
                      </a:cubicBezTo>
                      <a:cubicBezTo>
                        <a:pt x="216" y="136"/>
                        <a:pt x="216" y="136"/>
                        <a:pt x="216" y="136"/>
                      </a:cubicBezTo>
                      <a:cubicBezTo>
                        <a:pt x="216" y="143"/>
                        <a:pt x="211" y="148"/>
                        <a:pt x="204" y="148"/>
                      </a:cubicBezTo>
                      <a:cubicBezTo>
                        <a:pt x="80" y="148"/>
                        <a:pt x="80" y="148"/>
                        <a:pt x="80" y="148"/>
                      </a:cubicBezTo>
                      <a:cubicBezTo>
                        <a:pt x="48" y="172"/>
                        <a:pt x="48" y="172"/>
                        <a:pt x="48" y="172"/>
                      </a:cubicBezTo>
                      <a:cubicBezTo>
                        <a:pt x="48" y="148"/>
                        <a:pt x="48" y="148"/>
                        <a:pt x="48" y="148"/>
                      </a:cubicBezTo>
                      <a:cubicBezTo>
                        <a:pt x="12" y="148"/>
                        <a:pt x="12" y="148"/>
                        <a:pt x="12" y="148"/>
                      </a:cubicBezTo>
                      <a:cubicBezTo>
                        <a:pt x="5" y="148"/>
                        <a:pt x="0" y="143"/>
                        <a:pt x="0" y="136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lnTo>
                        <a:pt x="204" y="0"/>
                      </a:lnTo>
                      <a:close/>
                      <a:moveTo>
                        <a:pt x="52" y="60"/>
                      </a:moveTo>
                      <a:cubicBezTo>
                        <a:pt x="44" y="60"/>
                        <a:pt x="38" y="66"/>
                        <a:pt x="38" y="74"/>
                      </a:cubicBezTo>
                      <a:cubicBezTo>
                        <a:pt x="38" y="82"/>
                        <a:pt x="44" y="88"/>
                        <a:pt x="52" y="88"/>
                      </a:cubicBezTo>
                      <a:cubicBezTo>
                        <a:pt x="60" y="88"/>
                        <a:pt x="66" y="82"/>
                        <a:pt x="66" y="74"/>
                      </a:cubicBezTo>
                      <a:cubicBezTo>
                        <a:pt x="66" y="66"/>
                        <a:pt x="60" y="60"/>
                        <a:pt x="52" y="60"/>
                      </a:cubicBezTo>
                      <a:close/>
                      <a:moveTo>
                        <a:pt x="108" y="60"/>
                      </a:moveTo>
                      <a:cubicBezTo>
                        <a:pt x="100" y="60"/>
                        <a:pt x="94" y="66"/>
                        <a:pt x="94" y="74"/>
                      </a:cubicBezTo>
                      <a:cubicBezTo>
                        <a:pt x="94" y="82"/>
                        <a:pt x="100" y="88"/>
                        <a:pt x="108" y="88"/>
                      </a:cubicBezTo>
                      <a:cubicBezTo>
                        <a:pt x="116" y="88"/>
                        <a:pt x="122" y="82"/>
                        <a:pt x="122" y="74"/>
                      </a:cubicBezTo>
                      <a:cubicBezTo>
                        <a:pt x="122" y="66"/>
                        <a:pt x="116" y="60"/>
                        <a:pt x="108" y="60"/>
                      </a:cubicBezTo>
                      <a:close/>
                      <a:moveTo>
                        <a:pt x="164" y="60"/>
                      </a:moveTo>
                      <a:cubicBezTo>
                        <a:pt x="156" y="60"/>
                        <a:pt x="150" y="66"/>
                        <a:pt x="150" y="74"/>
                      </a:cubicBezTo>
                      <a:cubicBezTo>
                        <a:pt x="150" y="82"/>
                        <a:pt x="156" y="88"/>
                        <a:pt x="164" y="88"/>
                      </a:cubicBezTo>
                      <a:cubicBezTo>
                        <a:pt x="172" y="88"/>
                        <a:pt x="178" y="82"/>
                        <a:pt x="178" y="74"/>
                      </a:cubicBezTo>
                      <a:cubicBezTo>
                        <a:pt x="178" y="66"/>
                        <a:pt x="172" y="60"/>
                        <a:pt x="164" y="6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72" name="íṡḻídé">
                <a:extLst>
                  <a:ext uri="{FF2B5EF4-FFF2-40B4-BE49-F238E27FC236}">
                    <a16:creationId xmlns:a16="http://schemas.microsoft.com/office/drawing/2014/main" id="{706AFA2C-798E-4B72-ABA4-D43D3FB61585}"/>
                  </a:ext>
                </a:extLst>
              </p:cNvPr>
              <p:cNvGrpSpPr/>
              <p:nvPr/>
            </p:nvGrpSpPr>
            <p:grpSpPr>
              <a:xfrm>
                <a:off x="4867462" y="4553338"/>
                <a:ext cx="2206438" cy="1286096"/>
                <a:chOff x="3643921" y="5508403"/>
                <a:chExt cx="2206438" cy="1286096"/>
              </a:xfrm>
            </p:grpSpPr>
            <p:sp>
              <p:nvSpPr>
                <p:cNvPr id="173" name="išḷíḓé">
                  <a:extLst>
                    <a:ext uri="{FF2B5EF4-FFF2-40B4-BE49-F238E27FC236}">
                      <a16:creationId xmlns:a16="http://schemas.microsoft.com/office/drawing/2014/main" id="{0217D72D-F975-478C-84A4-6C6EB2A63A8B}"/>
                    </a:ext>
                  </a:extLst>
                </p:cNvPr>
                <p:cNvSpPr txBox="1"/>
                <p:nvPr/>
              </p:nvSpPr>
              <p:spPr bwMode="auto">
                <a:xfrm>
                  <a:off x="3643921" y="5508403"/>
                  <a:ext cx="2206438" cy="4421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/>
                    <a:t>Text here</a:t>
                  </a:r>
                </a:p>
              </p:txBody>
            </p:sp>
            <p:sp>
              <p:nvSpPr>
                <p:cNvPr id="174" name="ïšḻíḓè">
                  <a:extLst>
                    <a:ext uri="{FF2B5EF4-FFF2-40B4-BE49-F238E27FC236}">
                      <a16:creationId xmlns:a16="http://schemas.microsoft.com/office/drawing/2014/main" id="{E14FA016-BCC6-4D8A-A818-83F9255AC891}"/>
                    </a:ext>
                  </a:extLst>
                </p:cNvPr>
                <p:cNvSpPr/>
                <p:nvPr/>
              </p:nvSpPr>
              <p:spPr bwMode="auto">
                <a:xfrm>
                  <a:off x="3643921" y="5950580"/>
                  <a:ext cx="2206438" cy="8439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/>
                    <a:t>Supporting text here. </a:t>
                  </a:r>
                </a:p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/>
                    <a:t>… …</a:t>
                  </a:r>
                </a:p>
              </p:txBody>
            </p:sp>
          </p:grpSp>
        </p:grpSp>
        <p:grpSp>
          <p:nvGrpSpPr>
            <p:cNvPr id="157" name="íśļíḋé">
              <a:extLst>
                <a:ext uri="{FF2B5EF4-FFF2-40B4-BE49-F238E27FC236}">
                  <a16:creationId xmlns:a16="http://schemas.microsoft.com/office/drawing/2014/main" id="{EB2FCFF2-1E64-46FC-BAB8-40195B899272}"/>
                </a:ext>
              </a:extLst>
            </p:cNvPr>
            <p:cNvGrpSpPr/>
            <p:nvPr/>
          </p:nvGrpSpPr>
          <p:grpSpPr>
            <a:xfrm>
              <a:off x="7266372" y="3819730"/>
              <a:ext cx="2206438" cy="1874598"/>
              <a:chOff x="4867462" y="3964836"/>
              <a:chExt cx="2206438" cy="1874598"/>
            </a:xfrm>
          </p:grpSpPr>
          <p:grpSp>
            <p:nvGrpSpPr>
              <p:cNvPr id="165" name="îṩḻîḓê">
                <a:extLst>
                  <a:ext uri="{FF2B5EF4-FFF2-40B4-BE49-F238E27FC236}">
                    <a16:creationId xmlns:a16="http://schemas.microsoft.com/office/drawing/2014/main" id="{337AD68D-E165-4C89-93B9-3375AF844662}"/>
                  </a:ext>
                </a:extLst>
              </p:cNvPr>
              <p:cNvGrpSpPr/>
              <p:nvPr/>
            </p:nvGrpSpPr>
            <p:grpSpPr>
              <a:xfrm>
                <a:off x="5717513" y="3964836"/>
                <a:ext cx="506338" cy="506336"/>
                <a:chOff x="915512" y="2993687"/>
                <a:chExt cx="573786" cy="573785"/>
              </a:xfrm>
            </p:grpSpPr>
            <p:sp>
              <p:nvSpPr>
                <p:cNvPr id="169" name="iṥḷidè">
                  <a:extLst>
                    <a:ext uri="{FF2B5EF4-FFF2-40B4-BE49-F238E27FC236}">
                      <a16:creationId xmlns:a16="http://schemas.microsoft.com/office/drawing/2014/main" id="{6F05D98F-A4BB-4D1C-8AD6-69A7A04EC45D}"/>
                    </a:ext>
                  </a:extLst>
                </p:cNvPr>
                <p:cNvSpPr/>
                <p:nvPr/>
              </p:nvSpPr>
              <p:spPr bwMode="auto">
                <a:xfrm>
                  <a:off x="915512" y="2993687"/>
                  <a:ext cx="573786" cy="573785"/>
                </a:xfrm>
                <a:prstGeom prst="ellipse">
                  <a:avLst/>
                </a:prstGeom>
                <a:solidFill>
                  <a:schemeClr val="accent2"/>
                </a:solidFill>
                <a:ln w="190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0" name="ï$ļîḓe">
                  <a:extLst>
                    <a:ext uri="{FF2B5EF4-FFF2-40B4-BE49-F238E27FC236}">
                      <a16:creationId xmlns:a16="http://schemas.microsoft.com/office/drawing/2014/main" id="{277B2B04-2B19-4527-9EBD-20EFEBB7FC5B}"/>
                    </a:ext>
                  </a:extLst>
                </p:cNvPr>
                <p:cNvSpPr/>
                <p:nvPr/>
              </p:nvSpPr>
              <p:spPr bwMode="auto">
                <a:xfrm>
                  <a:off x="1078108" y="3186479"/>
                  <a:ext cx="248594" cy="188201"/>
                </a:xfrm>
                <a:custGeom>
                  <a:avLst/>
                  <a:gdLst>
                    <a:gd name="T0" fmla="*/ 212 w 224"/>
                    <a:gd name="T1" fmla="*/ 0 h 168"/>
                    <a:gd name="T2" fmla="*/ 224 w 224"/>
                    <a:gd name="T3" fmla="*/ 12 h 168"/>
                    <a:gd name="T4" fmla="*/ 224 w 224"/>
                    <a:gd name="T5" fmla="*/ 156 h 168"/>
                    <a:gd name="T6" fmla="*/ 212 w 224"/>
                    <a:gd name="T7" fmla="*/ 168 h 168"/>
                    <a:gd name="T8" fmla="*/ 12 w 224"/>
                    <a:gd name="T9" fmla="*/ 168 h 168"/>
                    <a:gd name="T10" fmla="*/ 0 w 224"/>
                    <a:gd name="T11" fmla="*/ 156 h 168"/>
                    <a:gd name="T12" fmla="*/ 0 w 224"/>
                    <a:gd name="T13" fmla="*/ 12 h 168"/>
                    <a:gd name="T14" fmla="*/ 12 w 224"/>
                    <a:gd name="T15" fmla="*/ 0 h 168"/>
                    <a:gd name="T16" fmla="*/ 212 w 224"/>
                    <a:gd name="T17" fmla="*/ 0 h 168"/>
                    <a:gd name="T18" fmla="*/ 164 w 224"/>
                    <a:gd name="T19" fmla="*/ 83 h 168"/>
                    <a:gd name="T20" fmla="*/ 147 w 224"/>
                    <a:gd name="T21" fmla="*/ 85 h 168"/>
                    <a:gd name="T22" fmla="*/ 112 w 224"/>
                    <a:gd name="T23" fmla="*/ 132 h 168"/>
                    <a:gd name="T24" fmla="*/ 111 w 224"/>
                    <a:gd name="T25" fmla="*/ 133 h 168"/>
                    <a:gd name="T26" fmla="*/ 94 w 224"/>
                    <a:gd name="T27" fmla="*/ 134 h 168"/>
                    <a:gd name="T28" fmla="*/ 68 w 224"/>
                    <a:gd name="T29" fmla="*/ 108 h 168"/>
                    <a:gd name="T30" fmla="*/ 67 w 224"/>
                    <a:gd name="T31" fmla="*/ 107 h 168"/>
                    <a:gd name="T32" fmla="*/ 50 w 224"/>
                    <a:gd name="T33" fmla="*/ 109 h 168"/>
                    <a:gd name="T34" fmla="*/ 13 w 224"/>
                    <a:gd name="T35" fmla="*/ 153 h 168"/>
                    <a:gd name="T36" fmla="*/ 12 w 224"/>
                    <a:gd name="T37" fmla="*/ 156 h 168"/>
                    <a:gd name="T38" fmla="*/ 16 w 224"/>
                    <a:gd name="T39" fmla="*/ 160 h 168"/>
                    <a:gd name="T40" fmla="*/ 209 w 224"/>
                    <a:gd name="T41" fmla="*/ 160 h 168"/>
                    <a:gd name="T42" fmla="*/ 211 w 224"/>
                    <a:gd name="T43" fmla="*/ 159 h 168"/>
                    <a:gd name="T44" fmla="*/ 212 w 224"/>
                    <a:gd name="T45" fmla="*/ 154 h 168"/>
                    <a:gd name="T46" fmla="*/ 167 w 224"/>
                    <a:gd name="T47" fmla="*/ 86 h 168"/>
                    <a:gd name="T48" fmla="*/ 164 w 224"/>
                    <a:gd name="T49" fmla="*/ 83 h 168"/>
                    <a:gd name="T50" fmla="*/ 40 w 224"/>
                    <a:gd name="T51" fmla="*/ 24 h 168"/>
                    <a:gd name="T52" fmla="*/ 24 w 224"/>
                    <a:gd name="T53" fmla="*/ 40 h 168"/>
                    <a:gd name="T54" fmla="*/ 40 w 224"/>
                    <a:gd name="T55" fmla="*/ 56 h 168"/>
                    <a:gd name="T56" fmla="*/ 56 w 224"/>
                    <a:gd name="T57" fmla="*/ 40 h 168"/>
                    <a:gd name="T58" fmla="*/ 40 w 224"/>
                    <a:gd name="T59" fmla="*/ 24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24" h="168">
                      <a:moveTo>
                        <a:pt x="212" y="0"/>
                      </a:moveTo>
                      <a:cubicBezTo>
                        <a:pt x="219" y="0"/>
                        <a:pt x="224" y="5"/>
                        <a:pt x="224" y="12"/>
                      </a:cubicBezTo>
                      <a:cubicBezTo>
                        <a:pt x="224" y="156"/>
                        <a:pt x="224" y="156"/>
                        <a:pt x="224" y="156"/>
                      </a:cubicBezTo>
                      <a:cubicBezTo>
                        <a:pt x="224" y="163"/>
                        <a:pt x="219" y="168"/>
                        <a:pt x="212" y="168"/>
                      </a:cubicBezTo>
                      <a:cubicBezTo>
                        <a:pt x="12" y="168"/>
                        <a:pt x="12" y="168"/>
                        <a:pt x="12" y="168"/>
                      </a:cubicBezTo>
                      <a:cubicBezTo>
                        <a:pt x="5" y="168"/>
                        <a:pt x="0" y="163"/>
                        <a:pt x="0" y="156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lnTo>
                        <a:pt x="212" y="0"/>
                      </a:lnTo>
                      <a:close/>
                      <a:moveTo>
                        <a:pt x="164" y="83"/>
                      </a:moveTo>
                      <a:cubicBezTo>
                        <a:pt x="159" y="79"/>
                        <a:pt x="151" y="80"/>
                        <a:pt x="147" y="85"/>
                      </a:cubicBezTo>
                      <a:cubicBezTo>
                        <a:pt x="112" y="132"/>
                        <a:pt x="112" y="132"/>
                        <a:pt x="112" y="132"/>
                      </a:cubicBezTo>
                      <a:cubicBezTo>
                        <a:pt x="112" y="133"/>
                        <a:pt x="111" y="133"/>
                        <a:pt x="111" y="133"/>
                      </a:cubicBezTo>
                      <a:cubicBezTo>
                        <a:pt x="106" y="138"/>
                        <a:pt x="99" y="138"/>
                        <a:pt x="94" y="134"/>
                      </a:cubicBezTo>
                      <a:cubicBezTo>
                        <a:pt x="68" y="108"/>
                        <a:pt x="68" y="108"/>
                        <a:pt x="68" y="108"/>
                      </a:cubicBezTo>
                      <a:cubicBezTo>
                        <a:pt x="67" y="107"/>
                        <a:pt x="67" y="107"/>
                        <a:pt x="67" y="107"/>
                      </a:cubicBezTo>
                      <a:cubicBezTo>
                        <a:pt x="62" y="103"/>
                        <a:pt x="54" y="104"/>
                        <a:pt x="50" y="109"/>
                      </a:cubicBezTo>
                      <a:cubicBezTo>
                        <a:pt x="13" y="153"/>
                        <a:pt x="13" y="153"/>
                        <a:pt x="13" y="153"/>
                      </a:cubicBezTo>
                      <a:cubicBezTo>
                        <a:pt x="13" y="154"/>
                        <a:pt x="12" y="155"/>
                        <a:pt x="12" y="156"/>
                      </a:cubicBezTo>
                      <a:cubicBezTo>
                        <a:pt x="12" y="158"/>
                        <a:pt x="14" y="160"/>
                        <a:pt x="16" y="160"/>
                      </a:cubicBezTo>
                      <a:cubicBezTo>
                        <a:pt x="209" y="160"/>
                        <a:pt x="209" y="160"/>
                        <a:pt x="209" y="160"/>
                      </a:cubicBezTo>
                      <a:cubicBezTo>
                        <a:pt x="209" y="160"/>
                        <a:pt x="210" y="160"/>
                        <a:pt x="211" y="159"/>
                      </a:cubicBezTo>
                      <a:cubicBezTo>
                        <a:pt x="213" y="158"/>
                        <a:pt x="213" y="156"/>
                        <a:pt x="212" y="154"/>
                      </a:cubicBezTo>
                      <a:cubicBezTo>
                        <a:pt x="167" y="86"/>
                        <a:pt x="167" y="86"/>
                        <a:pt x="167" y="86"/>
                      </a:cubicBezTo>
                      <a:cubicBezTo>
                        <a:pt x="166" y="85"/>
                        <a:pt x="165" y="84"/>
                        <a:pt x="164" y="83"/>
                      </a:cubicBezTo>
                      <a:close/>
                      <a:moveTo>
                        <a:pt x="40" y="24"/>
                      </a:moveTo>
                      <a:cubicBezTo>
                        <a:pt x="31" y="24"/>
                        <a:pt x="24" y="31"/>
                        <a:pt x="24" y="40"/>
                      </a:cubicBezTo>
                      <a:cubicBezTo>
                        <a:pt x="24" y="49"/>
                        <a:pt x="31" y="56"/>
                        <a:pt x="40" y="56"/>
                      </a:cubicBezTo>
                      <a:cubicBezTo>
                        <a:pt x="49" y="56"/>
                        <a:pt x="56" y="49"/>
                        <a:pt x="56" y="40"/>
                      </a:cubicBezTo>
                      <a:cubicBezTo>
                        <a:pt x="56" y="31"/>
                        <a:pt x="49" y="24"/>
                        <a:pt x="40" y="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66" name="ïṥḻiḍe">
                <a:extLst>
                  <a:ext uri="{FF2B5EF4-FFF2-40B4-BE49-F238E27FC236}">
                    <a16:creationId xmlns:a16="http://schemas.microsoft.com/office/drawing/2014/main" id="{9F52A7A1-7B3E-4867-9A39-E3237DA281FB}"/>
                  </a:ext>
                </a:extLst>
              </p:cNvPr>
              <p:cNvGrpSpPr/>
              <p:nvPr/>
            </p:nvGrpSpPr>
            <p:grpSpPr>
              <a:xfrm>
                <a:off x="4867462" y="4553338"/>
                <a:ext cx="2206438" cy="1286096"/>
                <a:chOff x="3643921" y="5508403"/>
                <a:chExt cx="2206438" cy="1286096"/>
              </a:xfrm>
            </p:grpSpPr>
            <p:sp>
              <p:nvSpPr>
                <p:cNvPr id="167" name="íṣḻîḑe">
                  <a:extLst>
                    <a:ext uri="{FF2B5EF4-FFF2-40B4-BE49-F238E27FC236}">
                      <a16:creationId xmlns:a16="http://schemas.microsoft.com/office/drawing/2014/main" id="{28DBDB95-AD47-443B-A9A4-A76B809E7153}"/>
                    </a:ext>
                  </a:extLst>
                </p:cNvPr>
                <p:cNvSpPr txBox="1"/>
                <p:nvPr/>
              </p:nvSpPr>
              <p:spPr bwMode="auto">
                <a:xfrm>
                  <a:off x="3643921" y="5508403"/>
                  <a:ext cx="2206438" cy="4421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/>
                    <a:t>Text here</a:t>
                  </a:r>
                </a:p>
              </p:txBody>
            </p:sp>
            <p:sp>
              <p:nvSpPr>
                <p:cNvPr id="168" name="îš1íḑé">
                  <a:extLst>
                    <a:ext uri="{FF2B5EF4-FFF2-40B4-BE49-F238E27FC236}">
                      <a16:creationId xmlns:a16="http://schemas.microsoft.com/office/drawing/2014/main" id="{4560FE79-4606-4AB1-8CBA-F72DFF030AC5}"/>
                    </a:ext>
                  </a:extLst>
                </p:cNvPr>
                <p:cNvSpPr/>
                <p:nvPr/>
              </p:nvSpPr>
              <p:spPr bwMode="auto">
                <a:xfrm>
                  <a:off x="3643921" y="5950580"/>
                  <a:ext cx="2206438" cy="8439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/>
                    <a:t>Supporting text here. </a:t>
                  </a:r>
                </a:p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/>
                    <a:t>… …</a:t>
                  </a:r>
                </a:p>
              </p:txBody>
            </p:sp>
          </p:grpSp>
        </p:grpSp>
        <p:grpSp>
          <p:nvGrpSpPr>
            <p:cNvPr id="158" name="ïṥ1ïḍe">
              <a:extLst>
                <a:ext uri="{FF2B5EF4-FFF2-40B4-BE49-F238E27FC236}">
                  <a16:creationId xmlns:a16="http://schemas.microsoft.com/office/drawing/2014/main" id="{7CDA1B78-BF99-41D0-8509-D17ACDDC40B8}"/>
                </a:ext>
              </a:extLst>
            </p:cNvPr>
            <p:cNvGrpSpPr/>
            <p:nvPr/>
          </p:nvGrpSpPr>
          <p:grpSpPr>
            <a:xfrm>
              <a:off x="9683001" y="3819730"/>
              <a:ext cx="2206438" cy="1874598"/>
              <a:chOff x="4867462" y="3964836"/>
              <a:chExt cx="2206438" cy="1874598"/>
            </a:xfrm>
          </p:grpSpPr>
          <p:grpSp>
            <p:nvGrpSpPr>
              <p:cNvPr id="159" name="ïṣḷíḑè">
                <a:extLst>
                  <a:ext uri="{FF2B5EF4-FFF2-40B4-BE49-F238E27FC236}">
                    <a16:creationId xmlns:a16="http://schemas.microsoft.com/office/drawing/2014/main" id="{48E326F6-0A1E-4A15-9DD3-E6D6B75F03B6}"/>
                  </a:ext>
                </a:extLst>
              </p:cNvPr>
              <p:cNvGrpSpPr/>
              <p:nvPr/>
            </p:nvGrpSpPr>
            <p:grpSpPr>
              <a:xfrm>
                <a:off x="5717513" y="3964836"/>
                <a:ext cx="506338" cy="506336"/>
                <a:chOff x="915512" y="2993687"/>
                <a:chExt cx="573786" cy="573785"/>
              </a:xfrm>
            </p:grpSpPr>
            <p:sp>
              <p:nvSpPr>
                <p:cNvPr id="163" name="ïŝľíḑé">
                  <a:extLst>
                    <a:ext uri="{FF2B5EF4-FFF2-40B4-BE49-F238E27FC236}">
                      <a16:creationId xmlns:a16="http://schemas.microsoft.com/office/drawing/2014/main" id="{947DD677-56BF-46CF-8B2A-82B9C5FCAFDA}"/>
                    </a:ext>
                  </a:extLst>
                </p:cNvPr>
                <p:cNvSpPr/>
                <p:nvPr/>
              </p:nvSpPr>
              <p:spPr bwMode="auto">
                <a:xfrm>
                  <a:off x="915512" y="2993687"/>
                  <a:ext cx="573786" cy="573785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4" name="îṣ1ïḍe">
                  <a:extLst>
                    <a:ext uri="{FF2B5EF4-FFF2-40B4-BE49-F238E27FC236}">
                      <a16:creationId xmlns:a16="http://schemas.microsoft.com/office/drawing/2014/main" id="{7137DD2D-7094-4BD2-B5AD-B7A02A6D32BC}"/>
                    </a:ext>
                  </a:extLst>
                </p:cNvPr>
                <p:cNvSpPr/>
                <p:nvPr/>
              </p:nvSpPr>
              <p:spPr bwMode="auto">
                <a:xfrm>
                  <a:off x="1078108" y="3176526"/>
                  <a:ext cx="248594" cy="208108"/>
                </a:xfrm>
                <a:custGeom>
                  <a:avLst/>
                  <a:gdLst>
                    <a:gd name="T0" fmla="*/ 203 w 222"/>
                    <a:gd name="T1" fmla="*/ 56 h 184"/>
                    <a:gd name="T2" fmla="*/ 222 w 222"/>
                    <a:gd name="T3" fmla="*/ 75 h 184"/>
                    <a:gd name="T4" fmla="*/ 221 w 222"/>
                    <a:gd name="T5" fmla="*/ 76 h 184"/>
                    <a:gd name="T6" fmla="*/ 216 w 222"/>
                    <a:gd name="T7" fmla="*/ 149 h 184"/>
                    <a:gd name="T8" fmla="*/ 204 w 222"/>
                    <a:gd name="T9" fmla="*/ 160 h 184"/>
                    <a:gd name="T10" fmla="*/ 191 w 222"/>
                    <a:gd name="T11" fmla="*/ 160 h 184"/>
                    <a:gd name="T12" fmla="*/ 191 w 222"/>
                    <a:gd name="T13" fmla="*/ 184 h 184"/>
                    <a:gd name="T14" fmla="*/ 183 w 222"/>
                    <a:gd name="T15" fmla="*/ 184 h 184"/>
                    <a:gd name="T16" fmla="*/ 183 w 222"/>
                    <a:gd name="T17" fmla="*/ 160 h 184"/>
                    <a:gd name="T18" fmla="*/ 39 w 222"/>
                    <a:gd name="T19" fmla="*/ 160 h 184"/>
                    <a:gd name="T20" fmla="*/ 39 w 222"/>
                    <a:gd name="T21" fmla="*/ 184 h 184"/>
                    <a:gd name="T22" fmla="*/ 31 w 222"/>
                    <a:gd name="T23" fmla="*/ 184 h 184"/>
                    <a:gd name="T24" fmla="*/ 31 w 222"/>
                    <a:gd name="T25" fmla="*/ 160 h 184"/>
                    <a:gd name="T26" fmla="*/ 18 w 222"/>
                    <a:gd name="T27" fmla="*/ 160 h 184"/>
                    <a:gd name="T28" fmla="*/ 6 w 222"/>
                    <a:gd name="T29" fmla="*/ 149 h 184"/>
                    <a:gd name="T30" fmla="*/ 1 w 222"/>
                    <a:gd name="T31" fmla="*/ 76 h 184"/>
                    <a:gd name="T32" fmla="*/ 18 w 222"/>
                    <a:gd name="T33" fmla="*/ 56 h 184"/>
                    <a:gd name="T34" fmla="*/ 19 w 222"/>
                    <a:gd name="T35" fmla="*/ 56 h 184"/>
                    <a:gd name="T36" fmla="*/ 43 w 222"/>
                    <a:gd name="T37" fmla="*/ 76 h 184"/>
                    <a:gd name="T38" fmla="*/ 51 w 222"/>
                    <a:gd name="T39" fmla="*/ 120 h 184"/>
                    <a:gd name="T40" fmla="*/ 171 w 222"/>
                    <a:gd name="T41" fmla="*/ 120 h 184"/>
                    <a:gd name="T42" fmla="*/ 179 w 222"/>
                    <a:gd name="T43" fmla="*/ 76 h 184"/>
                    <a:gd name="T44" fmla="*/ 203 w 222"/>
                    <a:gd name="T45" fmla="*/ 56 h 184"/>
                    <a:gd name="T46" fmla="*/ 175 w 222"/>
                    <a:gd name="T47" fmla="*/ 0 h 184"/>
                    <a:gd name="T48" fmla="*/ 203 w 222"/>
                    <a:gd name="T49" fmla="*/ 28 h 184"/>
                    <a:gd name="T50" fmla="*/ 203 w 222"/>
                    <a:gd name="T51" fmla="*/ 48 h 184"/>
                    <a:gd name="T52" fmla="*/ 200 w 222"/>
                    <a:gd name="T53" fmla="*/ 48 h 184"/>
                    <a:gd name="T54" fmla="*/ 173 w 222"/>
                    <a:gd name="T55" fmla="*/ 70 h 184"/>
                    <a:gd name="T56" fmla="*/ 173 w 222"/>
                    <a:gd name="T57" fmla="*/ 71 h 184"/>
                    <a:gd name="T58" fmla="*/ 165 w 222"/>
                    <a:gd name="T59" fmla="*/ 112 h 184"/>
                    <a:gd name="T60" fmla="*/ 57 w 222"/>
                    <a:gd name="T61" fmla="*/ 112 h 184"/>
                    <a:gd name="T62" fmla="*/ 49 w 222"/>
                    <a:gd name="T63" fmla="*/ 71 h 184"/>
                    <a:gd name="T64" fmla="*/ 22 w 222"/>
                    <a:gd name="T65" fmla="*/ 48 h 184"/>
                    <a:gd name="T66" fmla="*/ 23 w 222"/>
                    <a:gd name="T67" fmla="*/ 28 h 184"/>
                    <a:gd name="T68" fmla="*/ 51 w 222"/>
                    <a:gd name="T69" fmla="*/ 0 h 184"/>
                    <a:gd name="T70" fmla="*/ 175 w 222"/>
                    <a:gd name="T71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22" h="184">
                      <a:moveTo>
                        <a:pt x="203" y="56"/>
                      </a:moveTo>
                      <a:cubicBezTo>
                        <a:pt x="213" y="56"/>
                        <a:pt x="222" y="64"/>
                        <a:pt x="222" y="75"/>
                      </a:cubicBezTo>
                      <a:cubicBezTo>
                        <a:pt x="222" y="75"/>
                        <a:pt x="222" y="75"/>
                        <a:pt x="221" y="76"/>
                      </a:cubicBezTo>
                      <a:cubicBezTo>
                        <a:pt x="216" y="149"/>
                        <a:pt x="216" y="149"/>
                        <a:pt x="216" y="149"/>
                      </a:cubicBezTo>
                      <a:cubicBezTo>
                        <a:pt x="215" y="155"/>
                        <a:pt x="210" y="160"/>
                        <a:pt x="204" y="160"/>
                      </a:cubicBezTo>
                      <a:cubicBezTo>
                        <a:pt x="191" y="160"/>
                        <a:pt x="191" y="160"/>
                        <a:pt x="191" y="160"/>
                      </a:cubicBezTo>
                      <a:cubicBezTo>
                        <a:pt x="191" y="184"/>
                        <a:pt x="191" y="184"/>
                        <a:pt x="191" y="184"/>
                      </a:cubicBezTo>
                      <a:cubicBezTo>
                        <a:pt x="183" y="184"/>
                        <a:pt x="183" y="184"/>
                        <a:pt x="183" y="184"/>
                      </a:cubicBezTo>
                      <a:cubicBezTo>
                        <a:pt x="183" y="160"/>
                        <a:pt x="183" y="160"/>
                        <a:pt x="183" y="160"/>
                      </a:cubicBezTo>
                      <a:cubicBezTo>
                        <a:pt x="39" y="160"/>
                        <a:pt x="39" y="160"/>
                        <a:pt x="39" y="160"/>
                      </a:cubicBezTo>
                      <a:cubicBezTo>
                        <a:pt x="39" y="184"/>
                        <a:pt x="39" y="184"/>
                        <a:pt x="39" y="184"/>
                      </a:cubicBezTo>
                      <a:cubicBezTo>
                        <a:pt x="31" y="184"/>
                        <a:pt x="31" y="184"/>
                        <a:pt x="31" y="184"/>
                      </a:cubicBezTo>
                      <a:cubicBezTo>
                        <a:pt x="31" y="160"/>
                        <a:pt x="31" y="160"/>
                        <a:pt x="31" y="160"/>
                      </a:cubicBezTo>
                      <a:cubicBezTo>
                        <a:pt x="18" y="160"/>
                        <a:pt x="18" y="160"/>
                        <a:pt x="18" y="160"/>
                      </a:cubicBezTo>
                      <a:cubicBezTo>
                        <a:pt x="12" y="160"/>
                        <a:pt x="7" y="155"/>
                        <a:pt x="6" y="149"/>
                      </a:cubicBezTo>
                      <a:cubicBezTo>
                        <a:pt x="1" y="76"/>
                        <a:pt x="1" y="76"/>
                        <a:pt x="1" y="76"/>
                      </a:cubicBezTo>
                      <a:cubicBezTo>
                        <a:pt x="0" y="66"/>
                        <a:pt x="7" y="57"/>
                        <a:pt x="18" y="56"/>
                      </a:cubicBezTo>
                      <a:cubicBezTo>
                        <a:pt x="18" y="56"/>
                        <a:pt x="19" y="56"/>
                        <a:pt x="19" y="56"/>
                      </a:cubicBezTo>
                      <a:cubicBezTo>
                        <a:pt x="31" y="56"/>
                        <a:pt x="41" y="64"/>
                        <a:pt x="43" y="76"/>
                      </a:cubicBezTo>
                      <a:cubicBezTo>
                        <a:pt x="51" y="120"/>
                        <a:pt x="51" y="120"/>
                        <a:pt x="51" y="120"/>
                      </a:cubicBezTo>
                      <a:cubicBezTo>
                        <a:pt x="171" y="120"/>
                        <a:pt x="171" y="120"/>
                        <a:pt x="171" y="120"/>
                      </a:cubicBezTo>
                      <a:cubicBezTo>
                        <a:pt x="179" y="76"/>
                        <a:pt x="179" y="76"/>
                        <a:pt x="179" y="76"/>
                      </a:cubicBezTo>
                      <a:cubicBezTo>
                        <a:pt x="181" y="64"/>
                        <a:pt x="191" y="56"/>
                        <a:pt x="203" y="56"/>
                      </a:cubicBezTo>
                      <a:close/>
                      <a:moveTo>
                        <a:pt x="175" y="0"/>
                      </a:moveTo>
                      <a:cubicBezTo>
                        <a:pt x="190" y="0"/>
                        <a:pt x="203" y="13"/>
                        <a:pt x="203" y="28"/>
                      </a:cubicBezTo>
                      <a:cubicBezTo>
                        <a:pt x="203" y="48"/>
                        <a:pt x="203" y="48"/>
                        <a:pt x="203" y="48"/>
                      </a:cubicBezTo>
                      <a:cubicBezTo>
                        <a:pt x="202" y="48"/>
                        <a:pt x="201" y="48"/>
                        <a:pt x="200" y="48"/>
                      </a:cubicBezTo>
                      <a:cubicBezTo>
                        <a:pt x="187" y="48"/>
                        <a:pt x="176" y="57"/>
                        <a:pt x="173" y="70"/>
                      </a:cubicBezTo>
                      <a:cubicBezTo>
                        <a:pt x="173" y="71"/>
                        <a:pt x="173" y="71"/>
                        <a:pt x="173" y="71"/>
                      </a:cubicBezTo>
                      <a:cubicBezTo>
                        <a:pt x="165" y="112"/>
                        <a:pt x="165" y="112"/>
                        <a:pt x="165" y="112"/>
                      </a:cubicBezTo>
                      <a:cubicBezTo>
                        <a:pt x="57" y="112"/>
                        <a:pt x="57" y="112"/>
                        <a:pt x="57" y="112"/>
                      </a:cubicBezTo>
                      <a:cubicBezTo>
                        <a:pt x="49" y="71"/>
                        <a:pt x="49" y="71"/>
                        <a:pt x="49" y="71"/>
                      </a:cubicBezTo>
                      <a:cubicBezTo>
                        <a:pt x="47" y="57"/>
                        <a:pt x="35" y="48"/>
                        <a:pt x="22" y="48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23" y="13"/>
                        <a:pt x="36" y="0"/>
                        <a:pt x="51" y="0"/>
                      </a:cubicBezTo>
                      <a:lnTo>
                        <a:pt x="175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60" name="ïṡ1îḑè">
                <a:extLst>
                  <a:ext uri="{FF2B5EF4-FFF2-40B4-BE49-F238E27FC236}">
                    <a16:creationId xmlns:a16="http://schemas.microsoft.com/office/drawing/2014/main" id="{B72D9F9D-E2A5-46C7-AC61-5547E72D4DF0}"/>
                  </a:ext>
                </a:extLst>
              </p:cNvPr>
              <p:cNvGrpSpPr/>
              <p:nvPr/>
            </p:nvGrpSpPr>
            <p:grpSpPr>
              <a:xfrm>
                <a:off x="4867462" y="4553338"/>
                <a:ext cx="2206438" cy="1286096"/>
                <a:chOff x="3643921" y="5508403"/>
                <a:chExt cx="2206438" cy="1286096"/>
              </a:xfrm>
            </p:grpSpPr>
            <p:sp>
              <p:nvSpPr>
                <p:cNvPr id="161" name="íṥļïďè">
                  <a:extLst>
                    <a:ext uri="{FF2B5EF4-FFF2-40B4-BE49-F238E27FC236}">
                      <a16:creationId xmlns:a16="http://schemas.microsoft.com/office/drawing/2014/main" id="{6F5F7483-98DC-469C-886A-CD8461805B62}"/>
                    </a:ext>
                  </a:extLst>
                </p:cNvPr>
                <p:cNvSpPr txBox="1"/>
                <p:nvPr/>
              </p:nvSpPr>
              <p:spPr bwMode="auto">
                <a:xfrm>
                  <a:off x="3643921" y="5508403"/>
                  <a:ext cx="2206438" cy="4421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/>
                    <a:t>Text here</a:t>
                  </a:r>
                </a:p>
              </p:txBody>
            </p:sp>
            <p:sp>
              <p:nvSpPr>
                <p:cNvPr id="162" name="iš1ïdê">
                  <a:extLst>
                    <a:ext uri="{FF2B5EF4-FFF2-40B4-BE49-F238E27FC236}">
                      <a16:creationId xmlns:a16="http://schemas.microsoft.com/office/drawing/2014/main" id="{6E07F33A-2642-440F-B5F6-621DF0E13EA6}"/>
                    </a:ext>
                  </a:extLst>
                </p:cNvPr>
                <p:cNvSpPr/>
                <p:nvPr/>
              </p:nvSpPr>
              <p:spPr bwMode="auto">
                <a:xfrm>
                  <a:off x="3643921" y="5950580"/>
                  <a:ext cx="2206438" cy="8439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/>
                    <a:t>Supporting text here. </a:t>
                  </a:r>
                </a:p>
                <a:p>
                  <a:pPr algn="ctr">
                    <a:spcBef>
                      <a:spcPct val="0"/>
                    </a:spcBef>
                  </a:pPr>
                  <a:r>
                    <a:rPr lang="en-US" altLang="zh-CN" sz="1100"/>
                    <a:t>… …</a:t>
                  </a:r>
                </a:p>
              </p:txBody>
            </p:sp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418595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1í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$líḓe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ş1ïďe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$1íde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grpSp>
        <p:nvGrpSpPr>
          <p:cNvPr id="41" name="ïşḷidé">
            <a:extLst>
              <a:ext uri="{FF2B5EF4-FFF2-40B4-BE49-F238E27FC236}">
                <a16:creationId xmlns:a16="http://schemas.microsoft.com/office/drawing/2014/main" id="{42349EDD-AF45-4E0E-AFDA-AC909B9C3826}"/>
              </a:ext>
            </a:extLst>
          </p:cNvPr>
          <p:cNvGrpSpPr/>
          <p:nvPr/>
        </p:nvGrpSpPr>
        <p:grpSpPr>
          <a:xfrm>
            <a:off x="669924" y="1526536"/>
            <a:ext cx="10850677" cy="4498446"/>
            <a:chOff x="669924" y="1526536"/>
            <a:chExt cx="10850677" cy="4498446"/>
          </a:xfrm>
        </p:grpSpPr>
        <p:sp>
          <p:nvSpPr>
            <p:cNvPr id="38" name="îṧļíḍé">
              <a:extLst>
                <a:ext uri="{FF2B5EF4-FFF2-40B4-BE49-F238E27FC236}">
                  <a16:creationId xmlns:a16="http://schemas.microsoft.com/office/drawing/2014/main" id="{5F718F9F-F6A8-4F22-9C62-4E830898B75E}"/>
                </a:ext>
              </a:extLst>
            </p:cNvPr>
            <p:cNvSpPr/>
            <p:nvPr/>
          </p:nvSpPr>
          <p:spPr>
            <a:xfrm>
              <a:off x="669924" y="1766673"/>
              <a:ext cx="3890963" cy="3839029"/>
            </a:xfrm>
            <a:prstGeom prst="roundRect">
              <a:avLst>
                <a:gd name="adj" fmla="val 2794"/>
              </a:avLst>
            </a:prstGeom>
            <a:blipFill>
              <a:blip r:embed="rId4" cstate="screen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381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cxnSp>
          <p:nvCxnSpPr>
            <p:cNvPr id="7" name="iṣḷidè">
              <a:extLst>
                <a:ext uri="{FF2B5EF4-FFF2-40B4-BE49-F238E27FC236}">
                  <a16:creationId xmlns:a16="http://schemas.microsoft.com/office/drawing/2014/main" id="{69747CC1-F9D7-488A-B068-7CE3477529B4}"/>
                </a:ext>
              </a:extLst>
            </p:cNvPr>
            <p:cNvCxnSpPr>
              <a:cxnSpLocks/>
            </p:cNvCxnSpPr>
            <p:nvPr/>
          </p:nvCxnSpPr>
          <p:spPr>
            <a:xfrm>
              <a:off x="5184822" y="3054974"/>
              <a:ext cx="6323572" cy="0"/>
            </a:xfrm>
            <a:prstGeom prst="line">
              <a:avLst/>
            </a:prstGeom>
            <a:ln w="3175" cap="sq">
              <a:solidFill>
                <a:schemeClr val="bg1">
                  <a:lumMod val="85000"/>
                </a:schemeClr>
              </a:solidFill>
              <a:miter lim="800000"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išḷîḍê">
              <a:extLst>
                <a:ext uri="{FF2B5EF4-FFF2-40B4-BE49-F238E27FC236}">
                  <a16:creationId xmlns:a16="http://schemas.microsoft.com/office/drawing/2014/main" id="{CE76CA20-99AB-416F-A8E8-2B782F66840B}"/>
                </a:ext>
              </a:extLst>
            </p:cNvPr>
            <p:cNvSpPr txBox="1"/>
            <p:nvPr/>
          </p:nvSpPr>
          <p:spPr>
            <a:xfrm>
              <a:off x="5150625" y="1526536"/>
              <a:ext cx="6369975" cy="6222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buSzPct val="25000"/>
              </a:pPr>
              <a:r>
                <a:rPr lang="en-US" sz="2000" b="1" dirty="0"/>
                <a:t>Unified fonts make reading more fluent.</a:t>
              </a:r>
            </a:p>
          </p:txBody>
        </p:sp>
        <p:sp>
          <p:nvSpPr>
            <p:cNvPr id="9" name="iś1iḓê">
              <a:extLst>
                <a:ext uri="{FF2B5EF4-FFF2-40B4-BE49-F238E27FC236}">
                  <a16:creationId xmlns:a16="http://schemas.microsoft.com/office/drawing/2014/main" id="{FE73819E-3605-40C1-A512-69377ADCD57B}"/>
                </a:ext>
              </a:extLst>
            </p:cNvPr>
            <p:cNvSpPr txBox="1"/>
            <p:nvPr/>
          </p:nvSpPr>
          <p:spPr>
            <a:xfrm>
              <a:off x="5150625" y="2148821"/>
              <a:ext cx="6369976" cy="88448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buSzPct val="25000"/>
              </a:pPr>
              <a:r>
                <a:rPr lang="en-US" sz="1100" dirty="0"/>
                <a:t>Theme color makes PPT more convenient to change.</a:t>
              </a:r>
            </a:p>
            <a:p>
              <a:pPr>
                <a:buSzPct val="25000"/>
              </a:pPr>
              <a:r>
                <a:rPr lang="en-US" sz="1100" dirty="0"/>
                <a:t>Adjust the spacing to adapt to Chinese typesetting, use the reference line in PPT.</a:t>
              </a:r>
            </a:p>
            <a:p>
              <a:pPr>
                <a:buSzPct val="25000"/>
              </a:pPr>
              <a:r>
                <a:rPr lang="en-US" sz="1100" dirty="0"/>
                <a:t>… …</a:t>
              </a:r>
            </a:p>
          </p:txBody>
        </p:sp>
        <p:sp>
          <p:nvSpPr>
            <p:cNvPr id="36" name="îşļiḍé">
              <a:extLst>
                <a:ext uri="{FF2B5EF4-FFF2-40B4-BE49-F238E27FC236}">
                  <a16:creationId xmlns:a16="http://schemas.microsoft.com/office/drawing/2014/main" id="{94B8EA89-24D0-4082-A498-090568517144}"/>
                </a:ext>
              </a:extLst>
            </p:cNvPr>
            <p:cNvSpPr/>
            <p:nvPr/>
          </p:nvSpPr>
          <p:spPr>
            <a:xfrm>
              <a:off x="5805880" y="3444475"/>
              <a:ext cx="1551214" cy="388996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r>
                <a:rPr lang="en-US" altLang="zh-CN" sz="1400" b="1" dirty="0">
                  <a:solidFill>
                    <a:schemeClr val="tx1"/>
                  </a:solidFill>
                </a:rPr>
                <a:t>Text here</a:t>
              </a:r>
            </a:p>
          </p:txBody>
        </p:sp>
        <p:sp>
          <p:nvSpPr>
            <p:cNvPr id="37" name="iṩ1íďê">
              <a:extLst>
                <a:ext uri="{FF2B5EF4-FFF2-40B4-BE49-F238E27FC236}">
                  <a16:creationId xmlns:a16="http://schemas.microsoft.com/office/drawing/2014/main" id="{5FF27184-A80D-4F02-8A75-FB2EF83B709F}"/>
                </a:ext>
              </a:extLst>
            </p:cNvPr>
            <p:cNvSpPr/>
            <p:nvPr/>
          </p:nvSpPr>
          <p:spPr bwMode="auto">
            <a:xfrm>
              <a:off x="5805880" y="3833472"/>
              <a:ext cx="1551214" cy="600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r>
                <a:rPr lang="en-US" altLang="zh-CN" sz="1100" dirty="0"/>
                <a:t>Supporting text here.</a:t>
              </a:r>
            </a:p>
            <a:p>
              <a:r>
                <a:rPr lang="en-US" altLang="zh-CN" sz="1100" dirty="0"/>
                <a:t>……</a:t>
              </a:r>
            </a:p>
          </p:txBody>
        </p:sp>
        <p:sp>
          <p:nvSpPr>
            <p:cNvPr id="34" name="íśļîḓe">
              <a:extLst>
                <a:ext uri="{FF2B5EF4-FFF2-40B4-BE49-F238E27FC236}">
                  <a16:creationId xmlns:a16="http://schemas.microsoft.com/office/drawing/2014/main" id="{1ADCAA93-0334-42D9-BCFD-6920647EFA3B}"/>
                </a:ext>
              </a:extLst>
            </p:cNvPr>
            <p:cNvSpPr/>
            <p:nvPr/>
          </p:nvSpPr>
          <p:spPr bwMode="auto">
            <a:xfrm>
              <a:off x="5184822" y="3494289"/>
              <a:ext cx="520442" cy="52044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01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íş1îḍè">
              <a:extLst>
                <a:ext uri="{FF2B5EF4-FFF2-40B4-BE49-F238E27FC236}">
                  <a16:creationId xmlns:a16="http://schemas.microsoft.com/office/drawing/2014/main" id="{BA3D51D8-5816-44BF-A65A-63BC38EC28EF}"/>
                </a:ext>
              </a:extLst>
            </p:cNvPr>
            <p:cNvSpPr/>
            <p:nvPr/>
          </p:nvSpPr>
          <p:spPr>
            <a:xfrm>
              <a:off x="9323521" y="3444475"/>
              <a:ext cx="1551214" cy="388996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r>
                <a:rPr lang="en-US" altLang="zh-CN" sz="1400" b="1" dirty="0">
                  <a:solidFill>
                    <a:schemeClr val="tx1"/>
                  </a:solidFill>
                </a:rPr>
                <a:t>Text here</a:t>
              </a:r>
            </a:p>
          </p:txBody>
        </p:sp>
        <p:sp>
          <p:nvSpPr>
            <p:cNvPr id="31" name="íśļïďê">
              <a:extLst>
                <a:ext uri="{FF2B5EF4-FFF2-40B4-BE49-F238E27FC236}">
                  <a16:creationId xmlns:a16="http://schemas.microsoft.com/office/drawing/2014/main" id="{C015940A-38B7-4345-9EFB-2798B0F87874}"/>
                </a:ext>
              </a:extLst>
            </p:cNvPr>
            <p:cNvSpPr/>
            <p:nvPr/>
          </p:nvSpPr>
          <p:spPr bwMode="auto">
            <a:xfrm>
              <a:off x="9323521" y="3833472"/>
              <a:ext cx="1551214" cy="600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r>
                <a:rPr lang="en-US" altLang="zh-CN" sz="1100" dirty="0"/>
                <a:t>Supporting text here.</a:t>
              </a:r>
            </a:p>
            <a:p>
              <a:r>
                <a:rPr lang="en-US" altLang="zh-CN" sz="1100" dirty="0"/>
                <a:t>……</a:t>
              </a:r>
            </a:p>
          </p:txBody>
        </p:sp>
        <p:sp>
          <p:nvSpPr>
            <p:cNvPr id="28" name="îṩ1îḑè">
              <a:extLst>
                <a:ext uri="{FF2B5EF4-FFF2-40B4-BE49-F238E27FC236}">
                  <a16:creationId xmlns:a16="http://schemas.microsoft.com/office/drawing/2014/main" id="{D067220C-CAC2-446A-B94C-45A99B8A5AA8}"/>
                </a:ext>
              </a:extLst>
            </p:cNvPr>
            <p:cNvSpPr/>
            <p:nvPr/>
          </p:nvSpPr>
          <p:spPr bwMode="auto">
            <a:xfrm>
              <a:off x="8702463" y="3494289"/>
              <a:ext cx="520442" cy="52044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02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ïslidé">
              <a:extLst>
                <a:ext uri="{FF2B5EF4-FFF2-40B4-BE49-F238E27FC236}">
                  <a16:creationId xmlns:a16="http://schemas.microsoft.com/office/drawing/2014/main" id="{EEE5949E-22BE-40D8-8311-F62C7F5F9ED5}"/>
                </a:ext>
              </a:extLst>
            </p:cNvPr>
            <p:cNvSpPr/>
            <p:nvPr/>
          </p:nvSpPr>
          <p:spPr>
            <a:xfrm>
              <a:off x="5805880" y="5035448"/>
              <a:ext cx="1551214" cy="388996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r>
                <a:rPr lang="en-US" altLang="zh-CN" sz="1400" b="1" dirty="0">
                  <a:solidFill>
                    <a:schemeClr val="tx1"/>
                  </a:solidFill>
                </a:rPr>
                <a:t>Text here</a:t>
              </a:r>
            </a:p>
          </p:txBody>
        </p:sp>
        <p:sp>
          <p:nvSpPr>
            <p:cNvPr id="25" name="íṣḻïde">
              <a:extLst>
                <a:ext uri="{FF2B5EF4-FFF2-40B4-BE49-F238E27FC236}">
                  <a16:creationId xmlns:a16="http://schemas.microsoft.com/office/drawing/2014/main" id="{4215C160-C3D3-4909-A802-0E3942D50323}"/>
                </a:ext>
              </a:extLst>
            </p:cNvPr>
            <p:cNvSpPr/>
            <p:nvPr/>
          </p:nvSpPr>
          <p:spPr bwMode="auto">
            <a:xfrm>
              <a:off x="5805880" y="5424445"/>
              <a:ext cx="1551214" cy="600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r>
                <a:rPr lang="en-US" altLang="zh-CN" sz="1100" dirty="0"/>
                <a:t>Supporting text here.</a:t>
              </a:r>
            </a:p>
            <a:p>
              <a:r>
                <a:rPr lang="en-US" altLang="zh-CN" sz="1100" dirty="0"/>
                <a:t>……</a:t>
              </a:r>
            </a:p>
          </p:txBody>
        </p:sp>
        <p:sp>
          <p:nvSpPr>
            <p:cNvPr id="22" name="íṣļïḓê">
              <a:extLst>
                <a:ext uri="{FF2B5EF4-FFF2-40B4-BE49-F238E27FC236}">
                  <a16:creationId xmlns:a16="http://schemas.microsoft.com/office/drawing/2014/main" id="{6063998D-910F-44D1-BD4B-688E34257C7A}"/>
                </a:ext>
              </a:extLst>
            </p:cNvPr>
            <p:cNvSpPr/>
            <p:nvPr/>
          </p:nvSpPr>
          <p:spPr bwMode="auto">
            <a:xfrm>
              <a:off x="5184822" y="5085262"/>
              <a:ext cx="520442" cy="52044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03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îSļíḓe">
              <a:extLst>
                <a:ext uri="{FF2B5EF4-FFF2-40B4-BE49-F238E27FC236}">
                  <a16:creationId xmlns:a16="http://schemas.microsoft.com/office/drawing/2014/main" id="{C9F2F26B-FFE2-4168-BEEE-E94CC981C632}"/>
                </a:ext>
              </a:extLst>
            </p:cNvPr>
            <p:cNvSpPr/>
            <p:nvPr/>
          </p:nvSpPr>
          <p:spPr>
            <a:xfrm>
              <a:off x="9323521" y="5035448"/>
              <a:ext cx="1551214" cy="388996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r>
                <a:rPr lang="en-US" altLang="zh-CN" sz="1400" b="1" dirty="0">
                  <a:solidFill>
                    <a:schemeClr val="tx1"/>
                  </a:solidFill>
                </a:rPr>
                <a:t>Text here</a:t>
              </a:r>
            </a:p>
          </p:txBody>
        </p:sp>
        <p:sp>
          <p:nvSpPr>
            <p:cNvPr id="19" name="i$ľíḓè">
              <a:extLst>
                <a:ext uri="{FF2B5EF4-FFF2-40B4-BE49-F238E27FC236}">
                  <a16:creationId xmlns:a16="http://schemas.microsoft.com/office/drawing/2014/main" id="{4FE7C0FE-0C6F-44E9-B66B-690F8D2F4221}"/>
                </a:ext>
              </a:extLst>
            </p:cNvPr>
            <p:cNvSpPr/>
            <p:nvPr/>
          </p:nvSpPr>
          <p:spPr bwMode="auto">
            <a:xfrm>
              <a:off x="9323521" y="5424445"/>
              <a:ext cx="1551214" cy="600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r>
                <a:rPr lang="en-US" altLang="zh-CN" sz="1100" dirty="0"/>
                <a:t>Supporting text here.</a:t>
              </a:r>
            </a:p>
            <a:p>
              <a:r>
                <a:rPr lang="en-US" altLang="zh-CN" sz="1100" dirty="0"/>
                <a:t>……</a:t>
              </a:r>
            </a:p>
          </p:txBody>
        </p:sp>
        <p:sp>
          <p:nvSpPr>
            <p:cNvPr id="16" name="ïṧḷiḑé">
              <a:extLst>
                <a:ext uri="{FF2B5EF4-FFF2-40B4-BE49-F238E27FC236}">
                  <a16:creationId xmlns:a16="http://schemas.microsoft.com/office/drawing/2014/main" id="{51B2DC42-DD39-4147-A89D-DDA20CE0B176}"/>
                </a:ext>
              </a:extLst>
            </p:cNvPr>
            <p:cNvSpPr/>
            <p:nvPr/>
          </p:nvSpPr>
          <p:spPr bwMode="auto">
            <a:xfrm>
              <a:off x="8702463" y="5085262"/>
              <a:ext cx="520442" cy="52044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04</a:t>
              </a:r>
              <a:endParaRPr b="1" dirty="0">
                <a:solidFill>
                  <a:schemeClr val="bg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0649782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ḷ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ślíḍè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išļíď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ïṥľiďê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6600" dirty="0"/>
              <a:t>感谢您的聆听</a:t>
            </a:r>
          </a:p>
        </p:txBody>
      </p:sp>
      <p:sp>
        <p:nvSpPr>
          <p:cNvPr id="6" name="iSḷîd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  <p:sp>
        <p:nvSpPr>
          <p:cNvPr id="25" name="íś1ïḓé">
            <a:extLst>
              <a:ext uri="{FF2B5EF4-FFF2-40B4-BE49-F238E27FC236}">
                <a16:creationId xmlns:a16="http://schemas.microsoft.com/office/drawing/2014/main" id="{3AD5C7F1-2447-448E-8727-325310A194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www.zuel.edu.cn</a:t>
            </a:r>
            <a:endParaRPr lang="en-US" altLang="en-US" dirty="0"/>
          </a:p>
        </p:txBody>
      </p:sp>
      <p:cxnSp>
        <p:nvCxnSpPr>
          <p:cNvPr id="4" name="ïśļïdè">
            <a:extLst>
              <a:ext uri="{FF2B5EF4-FFF2-40B4-BE49-F238E27FC236}">
                <a16:creationId xmlns:a16="http://schemas.microsoft.com/office/drawing/2014/main" id="{CB73A652-1E5C-4EDD-871F-25B6B206DFE1}"/>
              </a:ext>
            </a:extLst>
          </p:cNvPr>
          <p:cNvCxnSpPr/>
          <p:nvPr/>
        </p:nvCxnSpPr>
        <p:spPr>
          <a:xfrm>
            <a:off x="939800" y="326898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ślí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$lí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ïṩḷíḋé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8" name="ïşľîďé">
            <a:extLst>
              <a:ext uri="{FF2B5EF4-FFF2-40B4-BE49-F238E27FC236}">
                <a16:creationId xmlns:a16="http://schemas.microsoft.com/office/drawing/2014/main" id="{B62F5C9C-88A9-41F2-BD83-4588DCE7C734}"/>
              </a:ext>
            </a:extLst>
          </p:cNvPr>
          <p:cNvSpPr txBox="1"/>
          <p:nvPr/>
        </p:nvSpPr>
        <p:spPr>
          <a:xfrm>
            <a:off x="6287910" y="2649764"/>
            <a:ext cx="1114375" cy="895350"/>
          </a:xfrm>
          <a:prstGeom prst="rect">
            <a:avLst/>
          </a:prstGeom>
          <a:noFill/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01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lî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ïŝḷíḋe">
            <a:extLst>
              <a:ext uri="{FF2B5EF4-FFF2-40B4-BE49-F238E27FC236}">
                <a16:creationId xmlns:a16="http://schemas.microsoft.com/office/drawing/2014/main" id="{489370C5-86FE-4E88-BA08-82CC59C9ACCB}"/>
              </a:ext>
            </a:extLst>
          </p:cNvPr>
          <p:cNvSpPr/>
          <p:nvPr/>
        </p:nvSpPr>
        <p:spPr>
          <a:xfrm>
            <a:off x="0" y="1247887"/>
            <a:ext cx="12191205" cy="2193198"/>
          </a:xfrm>
          <a:prstGeom prst="roundRect">
            <a:avLst>
              <a:gd name="adj" fmla="val 0"/>
            </a:avLst>
          </a:prstGeom>
          <a:blipFill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" name="íŝ1îďè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ṩļíde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ş1îḓê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6" name="išľîde">
            <a:extLst>
              <a:ext uri="{FF2B5EF4-FFF2-40B4-BE49-F238E27FC236}">
                <a16:creationId xmlns:a16="http://schemas.microsoft.com/office/drawing/2014/main" id="{AAACC046-64F4-4E3D-B0B6-D485CD33C71F}"/>
              </a:ext>
            </a:extLst>
          </p:cNvPr>
          <p:cNvSpPr txBox="1"/>
          <p:nvPr/>
        </p:nvSpPr>
        <p:spPr>
          <a:xfrm>
            <a:off x="1054578" y="4560507"/>
            <a:ext cx="2107365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7" name="ïşḻíḑê">
            <a:extLst>
              <a:ext uri="{FF2B5EF4-FFF2-40B4-BE49-F238E27FC236}">
                <a16:creationId xmlns:a16="http://schemas.microsoft.com/office/drawing/2014/main" id="{B98AF0A0-2BB5-4178-9A3C-876C3B432326}"/>
              </a:ext>
            </a:extLst>
          </p:cNvPr>
          <p:cNvSpPr/>
          <p:nvPr/>
        </p:nvSpPr>
        <p:spPr bwMode="auto">
          <a:xfrm>
            <a:off x="1054578" y="4981035"/>
            <a:ext cx="2107365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8" name="iṩ1îďé">
            <a:extLst>
              <a:ext uri="{FF2B5EF4-FFF2-40B4-BE49-F238E27FC236}">
                <a16:creationId xmlns:a16="http://schemas.microsoft.com/office/drawing/2014/main" id="{7D3ECF8B-7304-4A7E-9CB0-126CB5B92A69}"/>
              </a:ext>
            </a:extLst>
          </p:cNvPr>
          <p:cNvSpPr txBox="1"/>
          <p:nvPr/>
        </p:nvSpPr>
        <p:spPr>
          <a:xfrm>
            <a:off x="3606445" y="4560507"/>
            <a:ext cx="2107365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9" name="íṡḻiḍè">
            <a:extLst>
              <a:ext uri="{FF2B5EF4-FFF2-40B4-BE49-F238E27FC236}">
                <a16:creationId xmlns:a16="http://schemas.microsoft.com/office/drawing/2014/main" id="{EF127B7C-7B70-4C29-A7C1-9A2575429C28}"/>
              </a:ext>
            </a:extLst>
          </p:cNvPr>
          <p:cNvSpPr/>
          <p:nvPr/>
        </p:nvSpPr>
        <p:spPr bwMode="auto">
          <a:xfrm>
            <a:off x="3606445" y="4981035"/>
            <a:ext cx="2107365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0" name="ïšḻiḍè">
            <a:extLst>
              <a:ext uri="{FF2B5EF4-FFF2-40B4-BE49-F238E27FC236}">
                <a16:creationId xmlns:a16="http://schemas.microsoft.com/office/drawing/2014/main" id="{6130CD3A-6C9B-4632-978E-810FAA992D29}"/>
              </a:ext>
            </a:extLst>
          </p:cNvPr>
          <p:cNvSpPr txBox="1"/>
          <p:nvPr/>
        </p:nvSpPr>
        <p:spPr>
          <a:xfrm>
            <a:off x="6221810" y="4560507"/>
            <a:ext cx="2107365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11" name="ïṡḻïdè">
            <a:extLst>
              <a:ext uri="{FF2B5EF4-FFF2-40B4-BE49-F238E27FC236}">
                <a16:creationId xmlns:a16="http://schemas.microsoft.com/office/drawing/2014/main" id="{F934C726-45A3-401C-A846-6754F63C3268}"/>
              </a:ext>
            </a:extLst>
          </p:cNvPr>
          <p:cNvSpPr/>
          <p:nvPr/>
        </p:nvSpPr>
        <p:spPr bwMode="auto">
          <a:xfrm>
            <a:off x="6221810" y="4981035"/>
            <a:ext cx="2107365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30" name="îṣļïḓe">
            <a:extLst>
              <a:ext uri="{FF2B5EF4-FFF2-40B4-BE49-F238E27FC236}">
                <a16:creationId xmlns:a16="http://schemas.microsoft.com/office/drawing/2014/main" id="{77992FE2-309B-4C7A-8736-14C8DB0180B4}"/>
              </a:ext>
            </a:extLst>
          </p:cNvPr>
          <p:cNvSpPr/>
          <p:nvPr/>
        </p:nvSpPr>
        <p:spPr>
          <a:xfrm>
            <a:off x="1870102" y="3930147"/>
            <a:ext cx="527117" cy="583365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9" name="íṧḻîḋé">
            <a:extLst>
              <a:ext uri="{FF2B5EF4-FFF2-40B4-BE49-F238E27FC236}">
                <a16:creationId xmlns:a16="http://schemas.microsoft.com/office/drawing/2014/main" id="{856D0F88-497B-400E-BC7F-405077A31B8E}"/>
              </a:ext>
            </a:extLst>
          </p:cNvPr>
          <p:cNvSpPr/>
          <p:nvPr/>
        </p:nvSpPr>
        <p:spPr>
          <a:xfrm>
            <a:off x="4368444" y="3995627"/>
            <a:ext cx="583365" cy="441644"/>
          </a:xfrm>
          <a:custGeom>
            <a:avLst/>
            <a:gdLst>
              <a:gd name="T0" fmla="*/ 212 w 224"/>
              <a:gd name="T1" fmla="*/ 0 h 168"/>
              <a:gd name="T2" fmla="*/ 224 w 224"/>
              <a:gd name="T3" fmla="*/ 12 h 168"/>
              <a:gd name="T4" fmla="*/ 224 w 224"/>
              <a:gd name="T5" fmla="*/ 156 h 168"/>
              <a:gd name="T6" fmla="*/ 212 w 224"/>
              <a:gd name="T7" fmla="*/ 168 h 168"/>
              <a:gd name="T8" fmla="*/ 12 w 224"/>
              <a:gd name="T9" fmla="*/ 168 h 168"/>
              <a:gd name="T10" fmla="*/ 0 w 224"/>
              <a:gd name="T11" fmla="*/ 156 h 168"/>
              <a:gd name="T12" fmla="*/ 0 w 224"/>
              <a:gd name="T13" fmla="*/ 12 h 168"/>
              <a:gd name="T14" fmla="*/ 12 w 224"/>
              <a:gd name="T15" fmla="*/ 0 h 168"/>
              <a:gd name="T16" fmla="*/ 212 w 224"/>
              <a:gd name="T17" fmla="*/ 0 h 168"/>
              <a:gd name="T18" fmla="*/ 164 w 224"/>
              <a:gd name="T19" fmla="*/ 83 h 168"/>
              <a:gd name="T20" fmla="*/ 147 w 224"/>
              <a:gd name="T21" fmla="*/ 85 h 168"/>
              <a:gd name="T22" fmla="*/ 112 w 224"/>
              <a:gd name="T23" fmla="*/ 132 h 168"/>
              <a:gd name="T24" fmla="*/ 111 w 224"/>
              <a:gd name="T25" fmla="*/ 133 h 168"/>
              <a:gd name="T26" fmla="*/ 94 w 224"/>
              <a:gd name="T27" fmla="*/ 134 h 168"/>
              <a:gd name="T28" fmla="*/ 68 w 224"/>
              <a:gd name="T29" fmla="*/ 108 h 168"/>
              <a:gd name="T30" fmla="*/ 67 w 224"/>
              <a:gd name="T31" fmla="*/ 107 h 168"/>
              <a:gd name="T32" fmla="*/ 50 w 224"/>
              <a:gd name="T33" fmla="*/ 109 h 168"/>
              <a:gd name="T34" fmla="*/ 13 w 224"/>
              <a:gd name="T35" fmla="*/ 153 h 168"/>
              <a:gd name="T36" fmla="*/ 12 w 224"/>
              <a:gd name="T37" fmla="*/ 156 h 168"/>
              <a:gd name="T38" fmla="*/ 16 w 224"/>
              <a:gd name="T39" fmla="*/ 160 h 168"/>
              <a:gd name="T40" fmla="*/ 209 w 224"/>
              <a:gd name="T41" fmla="*/ 160 h 168"/>
              <a:gd name="T42" fmla="*/ 211 w 224"/>
              <a:gd name="T43" fmla="*/ 159 h 168"/>
              <a:gd name="T44" fmla="*/ 212 w 224"/>
              <a:gd name="T45" fmla="*/ 154 h 168"/>
              <a:gd name="T46" fmla="*/ 167 w 224"/>
              <a:gd name="T47" fmla="*/ 86 h 168"/>
              <a:gd name="T48" fmla="*/ 164 w 224"/>
              <a:gd name="T49" fmla="*/ 83 h 168"/>
              <a:gd name="T50" fmla="*/ 40 w 224"/>
              <a:gd name="T51" fmla="*/ 24 h 168"/>
              <a:gd name="T52" fmla="*/ 24 w 224"/>
              <a:gd name="T53" fmla="*/ 40 h 168"/>
              <a:gd name="T54" fmla="*/ 40 w 224"/>
              <a:gd name="T55" fmla="*/ 56 h 168"/>
              <a:gd name="T56" fmla="*/ 56 w 224"/>
              <a:gd name="T57" fmla="*/ 40 h 168"/>
              <a:gd name="T58" fmla="*/ 40 w 224"/>
              <a:gd name="T59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24" h="168">
                <a:moveTo>
                  <a:pt x="212" y="0"/>
                </a:moveTo>
                <a:cubicBezTo>
                  <a:pt x="219" y="0"/>
                  <a:pt x="224" y="5"/>
                  <a:pt x="224" y="12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4" y="163"/>
                  <a:pt x="219" y="168"/>
                  <a:pt x="212" y="168"/>
                </a:cubicBezTo>
                <a:cubicBezTo>
                  <a:pt x="12" y="168"/>
                  <a:pt x="12" y="168"/>
                  <a:pt x="12" y="168"/>
                </a:cubicBezTo>
                <a:cubicBezTo>
                  <a:pt x="5" y="168"/>
                  <a:pt x="0" y="163"/>
                  <a:pt x="0" y="15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12" y="0"/>
                </a:lnTo>
                <a:close/>
                <a:moveTo>
                  <a:pt x="164" y="83"/>
                </a:moveTo>
                <a:cubicBezTo>
                  <a:pt x="159" y="79"/>
                  <a:pt x="151" y="80"/>
                  <a:pt x="147" y="85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112" y="133"/>
                  <a:pt x="111" y="133"/>
                  <a:pt x="111" y="133"/>
                </a:cubicBezTo>
                <a:cubicBezTo>
                  <a:pt x="106" y="138"/>
                  <a:pt x="99" y="138"/>
                  <a:pt x="94" y="134"/>
                </a:cubicBezTo>
                <a:cubicBezTo>
                  <a:pt x="68" y="108"/>
                  <a:pt x="68" y="108"/>
                  <a:pt x="68" y="108"/>
                </a:cubicBezTo>
                <a:cubicBezTo>
                  <a:pt x="67" y="107"/>
                  <a:pt x="67" y="107"/>
                  <a:pt x="67" y="107"/>
                </a:cubicBezTo>
                <a:cubicBezTo>
                  <a:pt x="62" y="103"/>
                  <a:pt x="54" y="104"/>
                  <a:pt x="50" y="109"/>
                </a:cubicBezTo>
                <a:cubicBezTo>
                  <a:pt x="13" y="153"/>
                  <a:pt x="13" y="153"/>
                  <a:pt x="13" y="153"/>
                </a:cubicBezTo>
                <a:cubicBezTo>
                  <a:pt x="13" y="154"/>
                  <a:pt x="12" y="155"/>
                  <a:pt x="12" y="156"/>
                </a:cubicBezTo>
                <a:cubicBezTo>
                  <a:pt x="12" y="158"/>
                  <a:pt x="14" y="160"/>
                  <a:pt x="16" y="160"/>
                </a:cubicBezTo>
                <a:cubicBezTo>
                  <a:pt x="209" y="160"/>
                  <a:pt x="209" y="160"/>
                  <a:pt x="209" y="160"/>
                </a:cubicBezTo>
                <a:cubicBezTo>
                  <a:pt x="209" y="160"/>
                  <a:pt x="210" y="160"/>
                  <a:pt x="211" y="159"/>
                </a:cubicBezTo>
                <a:cubicBezTo>
                  <a:pt x="213" y="158"/>
                  <a:pt x="213" y="156"/>
                  <a:pt x="212" y="154"/>
                </a:cubicBezTo>
                <a:cubicBezTo>
                  <a:pt x="167" y="86"/>
                  <a:pt x="167" y="86"/>
                  <a:pt x="167" y="86"/>
                </a:cubicBezTo>
                <a:cubicBezTo>
                  <a:pt x="166" y="85"/>
                  <a:pt x="165" y="84"/>
                  <a:pt x="164" y="83"/>
                </a:cubicBez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chemeClr val="accent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0" name="ïŝḻíḋè">
            <a:extLst>
              <a:ext uri="{FF2B5EF4-FFF2-40B4-BE49-F238E27FC236}">
                <a16:creationId xmlns:a16="http://schemas.microsoft.com/office/drawing/2014/main" id="{100DF12C-78AC-4C2A-A606-BF3C3DFDDC6B}"/>
              </a:ext>
            </a:extLst>
          </p:cNvPr>
          <p:cNvSpPr/>
          <p:nvPr/>
        </p:nvSpPr>
        <p:spPr>
          <a:xfrm>
            <a:off x="7009210" y="3986768"/>
            <a:ext cx="583365" cy="470123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6" name="i$ľïḓè">
            <a:extLst>
              <a:ext uri="{FF2B5EF4-FFF2-40B4-BE49-F238E27FC236}">
                <a16:creationId xmlns:a16="http://schemas.microsoft.com/office/drawing/2014/main" id="{4FFAD9F6-7EAA-45FC-BE7E-AA2EFA44BEC0}"/>
              </a:ext>
            </a:extLst>
          </p:cNvPr>
          <p:cNvSpPr txBox="1"/>
          <p:nvPr/>
        </p:nvSpPr>
        <p:spPr>
          <a:xfrm>
            <a:off x="9030057" y="4560507"/>
            <a:ext cx="2107365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17" name="íṣļîḑe">
            <a:extLst>
              <a:ext uri="{FF2B5EF4-FFF2-40B4-BE49-F238E27FC236}">
                <a16:creationId xmlns:a16="http://schemas.microsoft.com/office/drawing/2014/main" id="{881C790B-AFC5-4411-BBA6-394E6BF389A5}"/>
              </a:ext>
            </a:extLst>
          </p:cNvPr>
          <p:cNvSpPr/>
          <p:nvPr/>
        </p:nvSpPr>
        <p:spPr bwMode="auto">
          <a:xfrm>
            <a:off x="9030057" y="4981035"/>
            <a:ext cx="2107365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21" name="i$ľîďè">
            <a:extLst>
              <a:ext uri="{FF2B5EF4-FFF2-40B4-BE49-F238E27FC236}">
                <a16:creationId xmlns:a16="http://schemas.microsoft.com/office/drawing/2014/main" id="{D4EC35C1-BFF2-4849-B5F9-0A0CACABF9E0}"/>
              </a:ext>
            </a:extLst>
          </p:cNvPr>
          <p:cNvSpPr/>
          <p:nvPr/>
        </p:nvSpPr>
        <p:spPr>
          <a:xfrm>
            <a:off x="9817457" y="3928063"/>
            <a:ext cx="583365" cy="576773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accent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9" name="ïṥļïḓé">
            <a:extLst>
              <a:ext uri="{FF2B5EF4-FFF2-40B4-BE49-F238E27FC236}">
                <a16:creationId xmlns:a16="http://schemas.microsoft.com/office/drawing/2014/main" id="{E9BABE76-1C5F-407B-B8A9-4ADC26116C37}"/>
              </a:ext>
            </a:extLst>
          </p:cNvPr>
          <p:cNvSpPr/>
          <p:nvPr/>
        </p:nvSpPr>
        <p:spPr>
          <a:xfrm>
            <a:off x="0" y="2833016"/>
            <a:ext cx="12190410" cy="608071"/>
          </a:xfrm>
          <a:prstGeom prst="roundRect">
            <a:avLst>
              <a:gd name="adj" fmla="val 0"/>
            </a:avLst>
          </a:prstGeom>
          <a:solidFill>
            <a:schemeClr val="accent1">
              <a:alpha val="80000"/>
            </a:schemeClr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SzPct val="25000"/>
            </a:pPr>
            <a:r>
              <a:rPr lang="en-US" altLang="zh-CN" sz="1800" b="1"/>
              <a:t>Unified fonts make reading more fluent.</a:t>
            </a:r>
            <a:endParaRPr lang="en-US" altLang="zh-CN" sz="18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314345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śļí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ṡlíḓê">
            <a:extLst>
              <a:ext uri="{FF2B5EF4-FFF2-40B4-BE49-F238E27FC236}">
                <a16:creationId xmlns:a16="http://schemas.microsoft.com/office/drawing/2014/main" id="{5C82F9BA-E834-467F-9997-96F8DEDE2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ṧḻíḑe">
            <a:extLst>
              <a:ext uri="{FF2B5EF4-FFF2-40B4-BE49-F238E27FC236}">
                <a16:creationId xmlns:a16="http://schemas.microsoft.com/office/drawing/2014/main" id="{3EA12635-49B5-46AF-AC61-6E45B6ADF4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ṥlïḑe">
            <a:extLst>
              <a:ext uri="{FF2B5EF4-FFF2-40B4-BE49-F238E27FC236}">
                <a16:creationId xmlns:a16="http://schemas.microsoft.com/office/drawing/2014/main" id="{125B66A3-356C-4086-85F8-EB995566F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231" name="iśḷîḑé">
            <a:extLst>
              <a:ext uri="{FF2B5EF4-FFF2-40B4-BE49-F238E27FC236}">
                <a16:creationId xmlns:a16="http://schemas.microsoft.com/office/drawing/2014/main" id="{76B455B0-27FF-48E2-87AA-263F67FE6554}"/>
              </a:ext>
            </a:extLst>
          </p:cNvPr>
          <p:cNvGrpSpPr/>
          <p:nvPr/>
        </p:nvGrpSpPr>
        <p:grpSpPr>
          <a:xfrm>
            <a:off x="657225" y="1347758"/>
            <a:ext cx="10877550" cy="4573647"/>
            <a:chOff x="657225" y="1117205"/>
            <a:chExt cx="10877550" cy="4573647"/>
          </a:xfrm>
        </p:grpSpPr>
        <p:sp>
          <p:nvSpPr>
            <p:cNvPr id="232" name="ïsľîḍè">
              <a:extLst>
                <a:ext uri="{FF2B5EF4-FFF2-40B4-BE49-F238E27FC236}">
                  <a16:creationId xmlns:a16="http://schemas.microsoft.com/office/drawing/2014/main" id="{87C9FA39-2A20-4C23-9B4D-50FE10F066F6}"/>
                </a:ext>
              </a:extLst>
            </p:cNvPr>
            <p:cNvSpPr/>
            <p:nvPr/>
          </p:nvSpPr>
          <p:spPr>
            <a:xfrm>
              <a:off x="5707467" y="2585802"/>
              <a:ext cx="841590" cy="841590"/>
            </a:xfrm>
            <a:prstGeom prst="ellipse">
              <a:avLst/>
            </a:prstGeom>
            <a:solidFill>
              <a:schemeClr val="accent2"/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sz="1400" b="1" kern="0">
                <a:solidFill>
                  <a:schemeClr val="tx2"/>
                </a:solidFill>
              </a:endParaRPr>
            </a:p>
          </p:txBody>
        </p:sp>
        <p:sp>
          <p:nvSpPr>
            <p:cNvPr id="233" name="îşľïḍe">
              <a:extLst>
                <a:ext uri="{FF2B5EF4-FFF2-40B4-BE49-F238E27FC236}">
                  <a16:creationId xmlns:a16="http://schemas.microsoft.com/office/drawing/2014/main" id="{728C84F4-AC67-4BF5-B4B7-CEF28AD2ADEA}"/>
                </a:ext>
              </a:extLst>
            </p:cNvPr>
            <p:cNvSpPr/>
            <p:nvPr/>
          </p:nvSpPr>
          <p:spPr>
            <a:xfrm>
              <a:off x="5105643" y="3472901"/>
              <a:ext cx="2070725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>
                  <a:solidFill>
                    <a:schemeClr val="tx1"/>
                  </a:solidFill>
                </a:rPr>
                <a:t>Text </a:t>
              </a:r>
              <a:r>
                <a:rPr lang="en-US" altLang="zh-CN" sz="1600" dirty="0">
                  <a:solidFill>
                    <a:schemeClr val="tx1"/>
                  </a:solidFill>
                </a:rPr>
                <a:t>Here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4" name="ïŝľîḑe">
              <a:extLst>
                <a:ext uri="{FF2B5EF4-FFF2-40B4-BE49-F238E27FC236}">
                  <a16:creationId xmlns:a16="http://schemas.microsoft.com/office/drawing/2014/main" id="{FB85B094-1538-446C-B690-83973FD4446B}"/>
                </a:ext>
              </a:extLst>
            </p:cNvPr>
            <p:cNvSpPr/>
            <p:nvPr/>
          </p:nvSpPr>
          <p:spPr>
            <a:xfrm>
              <a:off x="2478254" y="2585802"/>
              <a:ext cx="841590" cy="841590"/>
            </a:xfrm>
            <a:prstGeom prst="ellipse">
              <a:avLst/>
            </a:prstGeom>
            <a:solidFill>
              <a:schemeClr val="accent2"/>
            </a:solidFill>
            <a:ln w="571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35" name="íṣḻíḑe">
              <a:extLst>
                <a:ext uri="{FF2B5EF4-FFF2-40B4-BE49-F238E27FC236}">
                  <a16:creationId xmlns:a16="http://schemas.microsoft.com/office/drawing/2014/main" id="{9D636C89-D101-4385-AD3B-F4DA577E1E15}"/>
                </a:ext>
              </a:extLst>
            </p:cNvPr>
            <p:cNvSpPr/>
            <p:nvPr/>
          </p:nvSpPr>
          <p:spPr>
            <a:xfrm>
              <a:off x="1876431" y="3472901"/>
              <a:ext cx="2070725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>
                  <a:solidFill>
                    <a:schemeClr val="tx1"/>
                  </a:solidFill>
                </a:rPr>
                <a:t>Text </a:t>
              </a:r>
              <a:r>
                <a:rPr lang="en-US" altLang="zh-CN" sz="1600" dirty="0">
                  <a:solidFill>
                    <a:schemeClr val="tx1"/>
                  </a:solidFill>
                </a:rPr>
                <a:t>Here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6" name="íṣḷîdê">
              <a:extLst>
                <a:ext uri="{FF2B5EF4-FFF2-40B4-BE49-F238E27FC236}">
                  <a16:creationId xmlns:a16="http://schemas.microsoft.com/office/drawing/2014/main" id="{0ABAFEC3-6B7B-4DD1-A446-1D47EDC0D51F}"/>
                </a:ext>
              </a:extLst>
            </p:cNvPr>
            <p:cNvSpPr/>
            <p:nvPr/>
          </p:nvSpPr>
          <p:spPr>
            <a:xfrm>
              <a:off x="8887782" y="2587075"/>
              <a:ext cx="841590" cy="841590"/>
            </a:xfrm>
            <a:prstGeom prst="ellipse">
              <a:avLst/>
            </a:prstGeom>
            <a:solidFill>
              <a:schemeClr val="accent2"/>
            </a:solidFill>
            <a:ln w="571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37" name="ïṣḷîḑé">
              <a:extLst>
                <a:ext uri="{FF2B5EF4-FFF2-40B4-BE49-F238E27FC236}">
                  <a16:creationId xmlns:a16="http://schemas.microsoft.com/office/drawing/2014/main" id="{C9C6032E-B4F4-4AB6-A722-5BBC1AF8AE38}"/>
                </a:ext>
              </a:extLst>
            </p:cNvPr>
            <p:cNvSpPr/>
            <p:nvPr/>
          </p:nvSpPr>
          <p:spPr>
            <a:xfrm>
              <a:off x="8285956" y="3474173"/>
              <a:ext cx="2070725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>
                  <a:solidFill>
                    <a:schemeClr val="tx1"/>
                  </a:solidFill>
                </a:rPr>
                <a:t>Text </a:t>
              </a:r>
              <a:r>
                <a:rPr lang="en-US" altLang="zh-CN" sz="1600" dirty="0">
                  <a:solidFill>
                    <a:schemeClr val="tx1"/>
                  </a:solidFill>
                </a:rPr>
                <a:t>Here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8" name="îṩľîḓé">
              <a:extLst>
                <a:ext uri="{FF2B5EF4-FFF2-40B4-BE49-F238E27FC236}">
                  <a16:creationId xmlns:a16="http://schemas.microsoft.com/office/drawing/2014/main" id="{F0DCD4A2-241F-43D3-8064-FA4A2EB14179}"/>
                </a:ext>
              </a:extLst>
            </p:cNvPr>
            <p:cNvSpPr/>
            <p:nvPr/>
          </p:nvSpPr>
          <p:spPr>
            <a:xfrm>
              <a:off x="8510484" y="5277646"/>
              <a:ext cx="1570376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Text </a:t>
              </a:r>
              <a:r>
                <a:rPr lang="en-US" altLang="zh-CN" sz="1200" dirty="0">
                  <a:solidFill>
                    <a:schemeClr val="tx1"/>
                  </a:solidFill>
                </a:rPr>
                <a:t>Here</a:t>
              </a:r>
              <a:br>
                <a:rPr lang="zh-CN" altLang="en-US" sz="1200" dirty="0">
                  <a:solidFill>
                    <a:schemeClr val="tx1"/>
                  </a:solidFill>
                </a:rPr>
              </a:b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39" name="îṩ1iďê">
              <a:extLst>
                <a:ext uri="{FF2B5EF4-FFF2-40B4-BE49-F238E27FC236}">
                  <a16:creationId xmlns:a16="http://schemas.microsoft.com/office/drawing/2014/main" id="{559B5DBE-3361-4B6E-86AC-A379D4D04FAB}"/>
                </a:ext>
              </a:extLst>
            </p:cNvPr>
            <p:cNvSpPr/>
            <p:nvPr/>
          </p:nvSpPr>
          <p:spPr>
            <a:xfrm>
              <a:off x="9964399" y="5289308"/>
              <a:ext cx="1570376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Text Here</a:t>
              </a:r>
              <a:br>
                <a:rPr lang="zh-CN" altLang="en-US" sz="1200" dirty="0">
                  <a:solidFill>
                    <a:schemeClr val="tx1"/>
                  </a:solidFill>
                </a:rPr>
              </a:b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40" name="îṣļîḋê">
              <a:extLst>
                <a:ext uri="{FF2B5EF4-FFF2-40B4-BE49-F238E27FC236}">
                  <a16:creationId xmlns:a16="http://schemas.microsoft.com/office/drawing/2014/main" id="{73FC58F6-F834-42F0-B0C3-AC89C9CAFC23}"/>
                </a:ext>
              </a:extLst>
            </p:cNvPr>
            <p:cNvSpPr/>
            <p:nvPr/>
          </p:nvSpPr>
          <p:spPr>
            <a:xfrm>
              <a:off x="7082365" y="5289308"/>
              <a:ext cx="1570376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Text </a:t>
              </a:r>
              <a:r>
                <a:rPr lang="en-US" altLang="zh-CN" sz="1200" dirty="0">
                  <a:solidFill>
                    <a:schemeClr val="tx1"/>
                  </a:solidFill>
                </a:rPr>
                <a:t>Here</a:t>
              </a:r>
              <a:br>
                <a:rPr lang="zh-CN" altLang="en-US" sz="1200" dirty="0">
                  <a:solidFill>
                    <a:schemeClr val="tx1"/>
                  </a:solidFill>
                </a:rPr>
              </a:b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41" name="îśļidê">
              <a:extLst>
                <a:ext uri="{FF2B5EF4-FFF2-40B4-BE49-F238E27FC236}">
                  <a16:creationId xmlns:a16="http://schemas.microsoft.com/office/drawing/2014/main" id="{4EEF2EBE-4BE9-4E55-98BD-F5DBD82263EC}"/>
                </a:ext>
              </a:extLst>
            </p:cNvPr>
            <p:cNvSpPr/>
            <p:nvPr/>
          </p:nvSpPr>
          <p:spPr>
            <a:xfrm>
              <a:off x="5343074" y="5289410"/>
              <a:ext cx="1570376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Text Here</a:t>
              </a:r>
              <a:br>
                <a:rPr lang="zh-CN" altLang="en-US" sz="1200" dirty="0">
                  <a:solidFill>
                    <a:schemeClr val="tx1"/>
                  </a:solidFill>
                </a:rPr>
              </a:b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42" name="îşḻídê">
              <a:extLst>
                <a:ext uri="{FF2B5EF4-FFF2-40B4-BE49-F238E27FC236}">
                  <a16:creationId xmlns:a16="http://schemas.microsoft.com/office/drawing/2014/main" id="{679AEE8E-4341-4BA4-A375-6E50F97EBB0D}"/>
                </a:ext>
              </a:extLst>
            </p:cNvPr>
            <p:cNvSpPr/>
            <p:nvPr/>
          </p:nvSpPr>
          <p:spPr>
            <a:xfrm>
              <a:off x="3540002" y="5289308"/>
              <a:ext cx="1625614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Text Here</a:t>
              </a:r>
              <a:br>
                <a:rPr lang="zh-CN" altLang="en-US" sz="1200" dirty="0">
                  <a:solidFill>
                    <a:schemeClr val="tx1"/>
                  </a:solidFill>
                </a:rPr>
              </a:b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43" name="íṡ1ïde">
              <a:extLst>
                <a:ext uri="{FF2B5EF4-FFF2-40B4-BE49-F238E27FC236}">
                  <a16:creationId xmlns:a16="http://schemas.microsoft.com/office/drawing/2014/main" id="{5724C503-DF93-485D-B498-E1CB2AFC65BF}"/>
                </a:ext>
              </a:extLst>
            </p:cNvPr>
            <p:cNvSpPr/>
            <p:nvPr/>
          </p:nvSpPr>
          <p:spPr>
            <a:xfrm>
              <a:off x="657225" y="5293380"/>
              <a:ext cx="1625614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Text Here</a:t>
              </a:r>
              <a:br>
                <a:rPr lang="zh-CN" altLang="en-US" sz="1200" dirty="0">
                  <a:solidFill>
                    <a:schemeClr val="tx1"/>
                  </a:solidFill>
                </a:rPr>
              </a:b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44" name="ïšḻíḓe">
              <a:extLst>
                <a:ext uri="{FF2B5EF4-FFF2-40B4-BE49-F238E27FC236}">
                  <a16:creationId xmlns:a16="http://schemas.microsoft.com/office/drawing/2014/main" id="{F10B0B24-7ECB-4F95-A396-D89F6B6A1155}"/>
                </a:ext>
              </a:extLst>
            </p:cNvPr>
            <p:cNvSpPr/>
            <p:nvPr/>
          </p:nvSpPr>
          <p:spPr>
            <a:xfrm>
              <a:off x="1091340" y="4410381"/>
              <a:ext cx="758866" cy="758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245" name="iṩḷïdé">
              <a:extLst>
                <a:ext uri="{FF2B5EF4-FFF2-40B4-BE49-F238E27FC236}">
                  <a16:creationId xmlns:a16="http://schemas.microsoft.com/office/drawing/2014/main" id="{4DF86180-9C0E-47B0-B400-A741E9B096E8}"/>
                </a:ext>
              </a:extLst>
            </p:cNvPr>
            <p:cNvSpPr/>
            <p:nvPr/>
          </p:nvSpPr>
          <p:spPr>
            <a:xfrm>
              <a:off x="3973376" y="4398599"/>
              <a:ext cx="758866" cy="758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6" name="íṡľïḓè">
              <a:extLst>
                <a:ext uri="{FF2B5EF4-FFF2-40B4-BE49-F238E27FC236}">
                  <a16:creationId xmlns:a16="http://schemas.microsoft.com/office/drawing/2014/main" id="{E805CC60-01DD-4E1E-9473-888820FF1BF4}"/>
                </a:ext>
              </a:extLst>
            </p:cNvPr>
            <p:cNvSpPr/>
            <p:nvPr/>
          </p:nvSpPr>
          <p:spPr>
            <a:xfrm>
              <a:off x="5761572" y="4410381"/>
              <a:ext cx="758866" cy="758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7" name="iṡlîḓê">
              <a:extLst>
                <a:ext uri="{FF2B5EF4-FFF2-40B4-BE49-F238E27FC236}">
                  <a16:creationId xmlns:a16="http://schemas.microsoft.com/office/drawing/2014/main" id="{0EFF319E-48A0-4572-8D0E-1E827D39B34A}"/>
                </a:ext>
              </a:extLst>
            </p:cNvPr>
            <p:cNvSpPr/>
            <p:nvPr/>
          </p:nvSpPr>
          <p:spPr>
            <a:xfrm>
              <a:off x="7488118" y="4398599"/>
              <a:ext cx="758866" cy="758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8" name="ï$ľíḑé">
              <a:extLst>
                <a:ext uri="{FF2B5EF4-FFF2-40B4-BE49-F238E27FC236}">
                  <a16:creationId xmlns:a16="http://schemas.microsoft.com/office/drawing/2014/main" id="{0F719B27-C3F0-4F2B-8BA7-AE754F97B4FF}"/>
                </a:ext>
              </a:extLst>
            </p:cNvPr>
            <p:cNvSpPr/>
            <p:nvPr/>
          </p:nvSpPr>
          <p:spPr>
            <a:xfrm>
              <a:off x="8941882" y="4395064"/>
              <a:ext cx="758866" cy="758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9" name="ïŝļíḓè">
              <a:extLst>
                <a:ext uri="{FF2B5EF4-FFF2-40B4-BE49-F238E27FC236}">
                  <a16:creationId xmlns:a16="http://schemas.microsoft.com/office/drawing/2014/main" id="{2F3048C0-741A-4501-9023-4E235B201D1D}"/>
                </a:ext>
              </a:extLst>
            </p:cNvPr>
            <p:cNvSpPr/>
            <p:nvPr/>
          </p:nvSpPr>
          <p:spPr>
            <a:xfrm>
              <a:off x="10370152" y="4395064"/>
              <a:ext cx="758866" cy="758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50" name="iṩļîdé">
              <a:extLst>
                <a:ext uri="{FF2B5EF4-FFF2-40B4-BE49-F238E27FC236}">
                  <a16:creationId xmlns:a16="http://schemas.microsoft.com/office/drawing/2014/main" id="{87ACBA74-9FA2-41F6-B5FA-66F7A7FD5DA1}"/>
                </a:ext>
              </a:extLst>
            </p:cNvPr>
            <p:cNvSpPr/>
            <p:nvPr/>
          </p:nvSpPr>
          <p:spPr bwMode="auto">
            <a:xfrm>
              <a:off x="5977876" y="4612217"/>
              <a:ext cx="326256" cy="348140"/>
            </a:xfrm>
            <a:custGeom>
              <a:avLst/>
              <a:gdLst>
                <a:gd name="T0" fmla="*/ 156 w 208"/>
                <a:gd name="T1" fmla="*/ 0 h 220"/>
                <a:gd name="T2" fmla="*/ 168 w 208"/>
                <a:gd name="T3" fmla="*/ 12 h 220"/>
                <a:gd name="T4" fmla="*/ 168 w 208"/>
                <a:gd name="T5" fmla="*/ 56 h 220"/>
                <a:gd name="T6" fmla="*/ 156 w 208"/>
                <a:gd name="T7" fmla="*/ 68 h 220"/>
                <a:gd name="T8" fmla="*/ 108 w 208"/>
                <a:gd name="T9" fmla="*/ 68 h 220"/>
                <a:gd name="T10" fmla="*/ 108 w 208"/>
                <a:gd name="T11" fmla="*/ 120 h 220"/>
                <a:gd name="T12" fmla="*/ 176 w 208"/>
                <a:gd name="T13" fmla="*/ 120 h 220"/>
                <a:gd name="T14" fmla="*/ 192 w 208"/>
                <a:gd name="T15" fmla="*/ 135 h 220"/>
                <a:gd name="T16" fmla="*/ 192 w 208"/>
                <a:gd name="T17" fmla="*/ 136 h 220"/>
                <a:gd name="T18" fmla="*/ 192 w 208"/>
                <a:gd name="T19" fmla="*/ 180 h 220"/>
                <a:gd name="T20" fmla="*/ 200 w 208"/>
                <a:gd name="T21" fmla="*/ 180 h 220"/>
                <a:gd name="T22" fmla="*/ 208 w 208"/>
                <a:gd name="T23" fmla="*/ 188 h 220"/>
                <a:gd name="T24" fmla="*/ 208 w 208"/>
                <a:gd name="T25" fmla="*/ 212 h 220"/>
                <a:gd name="T26" fmla="*/ 200 w 208"/>
                <a:gd name="T27" fmla="*/ 220 h 220"/>
                <a:gd name="T28" fmla="*/ 176 w 208"/>
                <a:gd name="T29" fmla="*/ 220 h 220"/>
                <a:gd name="T30" fmla="*/ 168 w 208"/>
                <a:gd name="T31" fmla="*/ 212 h 220"/>
                <a:gd name="T32" fmla="*/ 168 w 208"/>
                <a:gd name="T33" fmla="*/ 188 h 220"/>
                <a:gd name="T34" fmla="*/ 176 w 208"/>
                <a:gd name="T35" fmla="*/ 180 h 220"/>
                <a:gd name="T36" fmla="*/ 184 w 208"/>
                <a:gd name="T37" fmla="*/ 180 h 220"/>
                <a:gd name="T38" fmla="*/ 184 w 208"/>
                <a:gd name="T39" fmla="*/ 136 h 220"/>
                <a:gd name="T40" fmla="*/ 177 w 208"/>
                <a:gd name="T41" fmla="*/ 128 h 220"/>
                <a:gd name="T42" fmla="*/ 176 w 208"/>
                <a:gd name="T43" fmla="*/ 128 h 220"/>
                <a:gd name="T44" fmla="*/ 108 w 208"/>
                <a:gd name="T45" fmla="*/ 128 h 220"/>
                <a:gd name="T46" fmla="*/ 108 w 208"/>
                <a:gd name="T47" fmla="*/ 180 h 220"/>
                <a:gd name="T48" fmla="*/ 116 w 208"/>
                <a:gd name="T49" fmla="*/ 180 h 220"/>
                <a:gd name="T50" fmla="*/ 124 w 208"/>
                <a:gd name="T51" fmla="*/ 188 h 220"/>
                <a:gd name="T52" fmla="*/ 124 w 208"/>
                <a:gd name="T53" fmla="*/ 212 h 220"/>
                <a:gd name="T54" fmla="*/ 116 w 208"/>
                <a:gd name="T55" fmla="*/ 220 h 220"/>
                <a:gd name="T56" fmla="*/ 92 w 208"/>
                <a:gd name="T57" fmla="*/ 220 h 220"/>
                <a:gd name="T58" fmla="*/ 84 w 208"/>
                <a:gd name="T59" fmla="*/ 212 h 220"/>
                <a:gd name="T60" fmla="*/ 84 w 208"/>
                <a:gd name="T61" fmla="*/ 188 h 220"/>
                <a:gd name="T62" fmla="*/ 92 w 208"/>
                <a:gd name="T63" fmla="*/ 180 h 220"/>
                <a:gd name="T64" fmla="*/ 100 w 208"/>
                <a:gd name="T65" fmla="*/ 180 h 220"/>
                <a:gd name="T66" fmla="*/ 100 w 208"/>
                <a:gd name="T67" fmla="*/ 128 h 220"/>
                <a:gd name="T68" fmla="*/ 32 w 208"/>
                <a:gd name="T69" fmla="*/ 128 h 220"/>
                <a:gd name="T70" fmla="*/ 24 w 208"/>
                <a:gd name="T71" fmla="*/ 135 h 220"/>
                <a:gd name="T72" fmla="*/ 24 w 208"/>
                <a:gd name="T73" fmla="*/ 136 h 220"/>
                <a:gd name="T74" fmla="*/ 24 w 208"/>
                <a:gd name="T75" fmla="*/ 180 h 220"/>
                <a:gd name="T76" fmla="*/ 32 w 208"/>
                <a:gd name="T77" fmla="*/ 180 h 220"/>
                <a:gd name="T78" fmla="*/ 40 w 208"/>
                <a:gd name="T79" fmla="*/ 188 h 220"/>
                <a:gd name="T80" fmla="*/ 40 w 208"/>
                <a:gd name="T81" fmla="*/ 212 h 220"/>
                <a:gd name="T82" fmla="*/ 32 w 208"/>
                <a:gd name="T83" fmla="*/ 220 h 220"/>
                <a:gd name="T84" fmla="*/ 8 w 208"/>
                <a:gd name="T85" fmla="*/ 220 h 220"/>
                <a:gd name="T86" fmla="*/ 0 w 208"/>
                <a:gd name="T87" fmla="*/ 212 h 220"/>
                <a:gd name="T88" fmla="*/ 0 w 208"/>
                <a:gd name="T89" fmla="*/ 188 h 220"/>
                <a:gd name="T90" fmla="*/ 8 w 208"/>
                <a:gd name="T91" fmla="*/ 180 h 220"/>
                <a:gd name="T92" fmla="*/ 16 w 208"/>
                <a:gd name="T93" fmla="*/ 180 h 220"/>
                <a:gd name="T94" fmla="*/ 16 w 208"/>
                <a:gd name="T95" fmla="*/ 136 h 220"/>
                <a:gd name="T96" fmla="*/ 31 w 208"/>
                <a:gd name="T97" fmla="*/ 120 h 220"/>
                <a:gd name="T98" fmla="*/ 32 w 208"/>
                <a:gd name="T99" fmla="*/ 120 h 220"/>
                <a:gd name="T100" fmla="*/ 100 w 208"/>
                <a:gd name="T101" fmla="*/ 120 h 220"/>
                <a:gd name="T102" fmla="*/ 100 w 208"/>
                <a:gd name="T103" fmla="*/ 68 h 220"/>
                <a:gd name="T104" fmla="*/ 52 w 208"/>
                <a:gd name="T105" fmla="*/ 68 h 220"/>
                <a:gd name="T106" fmla="*/ 40 w 208"/>
                <a:gd name="T107" fmla="*/ 56 h 220"/>
                <a:gd name="T108" fmla="*/ 40 w 208"/>
                <a:gd name="T109" fmla="*/ 12 h 220"/>
                <a:gd name="T110" fmla="*/ 52 w 208"/>
                <a:gd name="T111" fmla="*/ 0 h 220"/>
                <a:gd name="T112" fmla="*/ 156 w 208"/>
                <a:gd name="T113" fmla="*/ 0 h 220"/>
                <a:gd name="T114" fmla="*/ 62 w 208"/>
                <a:gd name="T115" fmla="*/ 40 h 220"/>
                <a:gd name="T116" fmla="*/ 56 w 208"/>
                <a:gd name="T117" fmla="*/ 46 h 220"/>
                <a:gd name="T118" fmla="*/ 62 w 208"/>
                <a:gd name="T119" fmla="*/ 52 h 220"/>
                <a:gd name="T120" fmla="*/ 68 w 208"/>
                <a:gd name="T121" fmla="*/ 46 h 220"/>
                <a:gd name="T122" fmla="*/ 62 w 208"/>
                <a:gd name="T123" fmla="*/ 4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8" h="220">
                  <a:moveTo>
                    <a:pt x="156" y="0"/>
                  </a:moveTo>
                  <a:cubicBezTo>
                    <a:pt x="163" y="0"/>
                    <a:pt x="168" y="5"/>
                    <a:pt x="168" y="12"/>
                  </a:cubicBezTo>
                  <a:cubicBezTo>
                    <a:pt x="168" y="56"/>
                    <a:pt x="168" y="56"/>
                    <a:pt x="168" y="56"/>
                  </a:cubicBezTo>
                  <a:cubicBezTo>
                    <a:pt x="168" y="63"/>
                    <a:pt x="163" y="68"/>
                    <a:pt x="156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76" y="120"/>
                    <a:pt x="176" y="120"/>
                    <a:pt x="176" y="120"/>
                  </a:cubicBezTo>
                  <a:cubicBezTo>
                    <a:pt x="185" y="120"/>
                    <a:pt x="192" y="127"/>
                    <a:pt x="192" y="135"/>
                  </a:cubicBezTo>
                  <a:cubicBezTo>
                    <a:pt x="192" y="136"/>
                    <a:pt x="192" y="136"/>
                    <a:pt x="192" y="136"/>
                  </a:cubicBezTo>
                  <a:cubicBezTo>
                    <a:pt x="192" y="180"/>
                    <a:pt x="192" y="180"/>
                    <a:pt x="192" y="180"/>
                  </a:cubicBezTo>
                  <a:cubicBezTo>
                    <a:pt x="200" y="180"/>
                    <a:pt x="200" y="180"/>
                    <a:pt x="200" y="180"/>
                  </a:cubicBezTo>
                  <a:cubicBezTo>
                    <a:pt x="204" y="180"/>
                    <a:pt x="208" y="184"/>
                    <a:pt x="208" y="188"/>
                  </a:cubicBezTo>
                  <a:cubicBezTo>
                    <a:pt x="208" y="212"/>
                    <a:pt x="208" y="212"/>
                    <a:pt x="208" y="212"/>
                  </a:cubicBezTo>
                  <a:cubicBezTo>
                    <a:pt x="208" y="216"/>
                    <a:pt x="204" y="220"/>
                    <a:pt x="200" y="220"/>
                  </a:cubicBezTo>
                  <a:cubicBezTo>
                    <a:pt x="176" y="220"/>
                    <a:pt x="176" y="220"/>
                    <a:pt x="176" y="220"/>
                  </a:cubicBezTo>
                  <a:cubicBezTo>
                    <a:pt x="172" y="220"/>
                    <a:pt x="168" y="216"/>
                    <a:pt x="168" y="212"/>
                  </a:cubicBezTo>
                  <a:cubicBezTo>
                    <a:pt x="168" y="188"/>
                    <a:pt x="168" y="188"/>
                    <a:pt x="168" y="188"/>
                  </a:cubicBezTo>
                  <a:cubicBezTo>
                    <a:pt x="168" y="184"/>
                    <a:pt x="172" y="180"/>
                    <a:pt x="176" y="180"/>
                  </a:cubicBezTo>
                  <a:cubicBezTo>
                    <a:pt x="184" y="180"/>
                    <a:pt x="184" y="180"/>
                    <a:pt x="184" y="180"/>
                  </a:cubicBezTo>
                  <a:cubicBezTo>
                    <a:pt x="184" y="136"/>
                    <a:pt x="184" y="136"/>
                    <a:pt x="184" y="136"/>
                  </a:cubicBezTo>
                  <a:cubicBezTo>
                    <a:pt x="184" y="132"/>
                    <a:pt x="181" y="128"/>
                    <a:pt x="177" y="128"/>
                  </a:cubicBezTo>
                  <a:cubicBezTo>
                    <a:pt x="176" y="128"/>
                    <a:pt x="176" y="128"/>
                    <a:pt x="176" y="128"/>
                  </a:cubicBezTo>
                  <a:cubicBezTo>
                    <a:pt x="108" y="128"/>
                    <a:pt x="108" y="128"/>
                    <a:pt x="108" y="128"/>
                  </a:cubicBezTo>
                  <a:cubicBezTo>
                    <a:pt x="108" y="180"/>
                    <a:pt x="108" y="180"/>
                    <a:pt x="108" y="180"/>
                  </a:cubicBezTo>
                  <a:cubicBezTo>
                    <a:pt x="116" y="180"/>
                    <a:pt x="116" y="180"/>
                    <a:pt x="116" y="180"/>
                  </a:cubicBezTo>
                  <a:cubicBezTo>
                    <a:pt x="120" y="180"/>
                    <a:pt x="124" y="184"/>
                    <a:pt x="124" y="188"/>
                  </a:cubicBezTo>
                  <a:cubicBezTo>
                    <a:pt x="124" y="212"/>
                    <a:pt x="124" y="212"/>
                    <a:pt x="124" y="212"/>
                  </a:cubicBezTo>
                  <a:cubicBezTo>
                    <a:pt x="124" y="216"/>
                    <a:pt x="120" y="220"/>
                    <a:pt x="116" y="220"/>
                  </a:cubicBezTo>
                  <a:cubicBezTo>
                    <a:pt x="92" y="220"/>
                    <a:pt x="92" y="220"/>
                    <a:pt x="92" y="220"/>
                  </a:cubicBezTo>
                  <a:cubicBezTo>
                    <a:pt x="88" y="220"/>
                    <a:pt x="84" y="216"/>
                    <a:pt x="84" y="212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4"/>
                    <a:pt x="88" y="180"/>
                    <a:pt x="92" y="180"/>
                  </a:cubicBezTo>
                  <a:cubicBezTo>
                    <a:pt x="100" y="180"/>
                    <a:pt x="100" y="180"/>
                    <a:pt x="100" y="180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28" y="128"/>
                    <a:pt x="24" y="131"/>
                    <a:pt x="24" y="135"/>
                  </a:cubicBezTo>
                  <a:cubicBezTo>
                    <a:pt x="24" y="136"/>
                    <a:pt x="24" y="136"/>
                    <a:pt x="24" y="136"/>
                  </a:cubicBezTo>
                  <a:cubicBezTo>
                    <a:pt x="24" y="180"/>
                    <a:pt x="24" y="180"/>
                    <a:pt x="24" y="180"/>
                  </a:cubicBezTo>
                  <a:cubicBezTo>
                    <a:pt x="32" y="180"/>
                    <a:pt x="32" y="180"/>
                    <a:pt x="32" y="180"/>
                  </a:cubicBezTo>
                  <a:cubicBezTo>
                    <a:pt x="36" y="180"/>
                    <a:pt x="40" y="184"/>
                    <a:pt x="40" y="188"/>
                  </a:cubicBezTo>
                  <a:cubicBezTo>
                    <a:pt x="40" y="212"/>
                    <a:pt x="40" y="212"/>
                    <a:pt x="40" y="212"/>
                  </a:cubicBezTo>
                  <a:cubicBezTo>
                    <a:pt x="40" y="216"/>
                    <a:pt x="36" y="220"/>
                    <a:pt x="32" y="220"/>
                  </a:cubicBezTo>
                  <a:cubicBezTo>
                    <a:pt x="8" y="220"/>
                    <a:pt x="8" y="220"/>
                    <a:pt x="8" y="220"/>
                  </a:cubicBezTo>
                  <a:cubicBezTo>
                    <a:pt x="4" y="220"/>
                    <a:pt x="0" y="216"/>
                    <a:pt x="0" y="212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4"/>
                    <a:pt x="4" y="180"/>
                    <a:pt x="8" y="180"/>
                  </a:cubicBezTo>
                  <a:cubicBezTo>
                    <a:pt x="16" y="180"/>
                    <a:pt x="16" y="180"/>
                    <a:pt x="16" y="180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27"/>
                    <a:pt x="23" y="120"/>
                    <a:pt x="31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100" y="120"/>
                    <a:pt x="100" y="120"/>
                    <a:pt x="100" y="120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45" y="68"/>
                    <a:pt x="40" y="63"/>
                    <a:pt x="40" y="56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5"/>
                    <a:pt x="45" y="0"/>
                    <a:pt x="52" y="0"/>
                  </a:cubicBezTo>
                  <a:lnTo>
                    <a:pt x="156" y="0"/>
                  </a:lnTo>
                  <a:close/>
                  <a:moveTo>
                    <a:pt x="62" y="40"/>
                  </a:moveTo>
                  <a:cubicBezTo>
                    <a:pt x="59" y="40"/>
                    <a:pt x="56" y="43"/>
                    <a:pt x="56" y="46"/>
                  </a:cubicBezTo>
                  <a:cubicBezTo>
                    <a:pt x="56" y="49"/>
                    <a:pt x="59" y="52"/>
                    <a:pt x="62" y="52"/>
                  </a:cubicBezTo>
                  <a:cubicBezTo>
                    <a:pt x="65" y="52"/>
                    <a:pt x="68" y="49"/>
                    <a:pt x="68" y="46"/>
                  </a:cubicBezTo>
                  <a:cubicBezTo>
                    <a:pt x="68" y="43"/>
                    <a:pt x="65" y="40"/>
                    <a:pt x="62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cxnSp>
          <p:nvCxnSpPr>
            <p:cNvPr id="251" name="işḷíḋé">
              <a:extLst>
                <a:ext uri="{FF2B5EF4-FFF2-40B4-BE49-F238E27FC236}">
                  <a16:creationId xmlns:a16="http://schemas.microsoft.com/office/drawing/2014/main" id="{816AC95D-5197-49C2-80E5-673AAD159F3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2899056" y="2230001"/>
              <a:ext cx="6417767" cy="228095"/>
            </a:xfrm>
            <a:prstGeom prst="bentConnector3">
              <a:avLst>
                <a:gd name="adj1" fmla="val 99992"/>
              </a:avLst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2" name="íṥļîḓé">
              <a:extLst>
                <a:ext uri="{FF2B5EF4-FFF2-40B4-BE49-F238E27FC236}">
                  <a16:creationId xmlns:a16="http://schemas.microsoft.com/office/drawing/2014/main" id="{109B3956-7E46-4C89-A839-3CADCFF5CFE4}"/>
                </a:ext>
              </a:extLst>
            </p:cNvPr>
            <p:cNvSpPr/>
            <p:nvPr/>
          </p:nvSpPr>
          <p:spPr bwMode="auto">
            <a:xfrm>
              <a:off x="4192165" y="4612217"/>
              <a:ext cx="321283" cy="348140"/>
            </a:xfrm>
            <a:custGeom>
              <a:avLst/>
              <a:gdLst>
                <a:gd name="T0" fmla="*/ 3 w 205"/>
                <a:gd name="T1" fmla="*/ 215 h 220"/>
                <a:gd name="T2" fmla="*/ 2 w 205"/>
                <a:gd name="T3" fmla="*/ 214 h 220"/>
                <a:gd name="T4" fmla="*/ 2 w 205"/>
                <a:gd name="T5" fmla="*/ 213 h 220"/>
                <a:gd name="T6" fmla="*/ 1 w 205"/>
                <a:gd name="T7" fmla="*/ 212 h 220"/>
                <a:gd name="T8" fmla="*/ 1 w 205"/>
                <a:gd name="T9" fmla="*/ 212 h 220"/>
                <a:gd name="T10" fmla="*/ 1 w 205"/>
                <a:gd name="T11" fmla="*/ 211 h 220"/>
                <a:gd name="T12" fmla="*/ 0 w 205"/>
                <a:gd name="T13" fmla="*/ 210 h 220"/>
                <a:gd name="T14" fmla="*/ 0 w 205"/>
                <a:gd name="T15" fmla="*/ 207 h 220"/>
                <a:gd name="T16" fmla="*/ 2 w 205"/>
                <a:gd name="T17" fmla="*/ 196 h 220"/>
                <a:gd name="T18" fmla="*/ 66 w 205"/>
                <a:gd name="T19" fmla="*/ 57 h 220"/>
                <a:gd name="T20" fmla="*/ 50 w 205"/>
                <a:gd name="T21" fmla="*/ 8 h 220"/>
                <a:gd name="T22" fmla="*/ 154 w 205"/>
                <a:gd name="T23" fmla="*/ 0 h 220"/>
                <a:gd name="T24" fmla="*/ 138 w 205"/>
                <a:gd name="T25" fmla="*/ 8 h 220"/>
                <a:gd name="T26" fmla="*/ 140 w 205"/>
                <a:gd name="T27" fmla="*/ 63 h 220"/>
                <a:gd name="T28" fmla="*/ 203 w 205"/>
                <a:gd name="T29" fmla="*/ 212 h 220"/>
                <a:gd name="T30" fmla="*/ 203 w 205"/>
                <a:gd name="T31" fmla="*/ 213 h 220"/>
                <a:gd name="T32" fmla="*/ 192 w 205"/>
                <a:gd name="T33" fmla="*/ 220 h 220"/>
                <a:gd name="T34" fmla="*/ 12 w 205"/>
                <a:gd name="T35" fmla="*/ 220 h 220"/>
                <a:gd name="T36" fmla="*/ 9 w 205"/>
                <a:gd name="T37" fmla="*/ 220 h 220"/>
                <a:gd name="T38" fmla="*/ 7 w 205"/>
                <a:gd name="T39" fmla="*/ 219 h 220"/>
                <a:gd name="T40" fmla="*/ 6 w 205"/>
                <a:gd name="T41" fmla="*/ 218 h 220"/>
                <a:gd name="T42" fmla="*/ 3 w 205"/>
                <a:gd name="T43" fmla="*/ 216 h 220"/>
                <a:gd name="T44" fmla="*/ 105 w 205"/>
                <a:gd name="T45" fmla="*/ 170 h 220"/>
                <a:gd name="T46" fmla="*/ 23 w 205"/>
                <a:gd name="T47" fmla="*/ 175 h 220"/>
                <a:gd name="T48" fmla="*/ 9 w 205"/>
                <a:gd name="T49" fmla="*/ 200 h 220"/>
                <a:gd name="T50" fmla="*/ 8 w 205"/>
                <a:gd name="T51" fmla="*/ 209 h 220"/>
                <a:gd name="T52" fmla="*/ 12 w 205"/>
                <a:gd name="T53" fmla="*/ 212 h 220"/>
                <a:gd name="T54" fmla="*/ 192 w 205"/>
                <a:gd name="T55" fmla="*/ 212 h 220"/>
                <a:gd name="T56" fmla="*/ 196 w 205"/>
                <a:gd name="T57" fmla="*/ 209 h 220"/>
                <a:gd name="T58" fmla="*/ 195 w 205"/>
                <a:gd name="T59" fmla="*/ 201 h 220"/>
                <a:gd name="T60" fmla="*/ 178 w 205"/>
                <a:gd name="T61" fmla="*/ 163 h 220"/>
                <a:gd name="T62" fmla="*/ 128 w 205"/>
                <a:gd name="T63" fmla="*/ 108 h 220"/>
                <a:gd name="T64" fmla="*/ 128 w 205"/>
                <a:gd name="T65" fmla="*/ 136 h 220"/>
                <a:gd name="T66" fmla="*/ 128 w 205"/>
                <a:gd name="T67" fmla="*/ 1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5" h="220">
                  <a:moveTo>
                    <a:pt x="3" y="216"/>
                  </a:moveTo>
                  <a:cubicBezTo>
                    <a:pt x="3" y="215"/>
                    <a:pt x="3" y="215"/>
                    <a:pt x="3" y="215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2" y="215"/>
                    <a:pt x="2" y="214"/>
                    <a:pt x="2" y="214"/>
                  </a:cubicBezTo>
                  <a:cubicBezTo>
                    <a:pt x="2" y="214"/>
                    <a:pt x="2" y="214"/>
                    <a:pt x="2" y="214"/>
                  </a:cubicBezTo>
                  <a:cubicBezTo>
                    <a:pt x="2" y="213"/>
                    <a:pt x="2" y="213"/>
                    <a:pt x="2" y="213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1" y="212"/>
                    <a:pt x="1" y="212"/>
                    <a:pt x="1" y="212"/>
                  </a:cubicBezTo>
                  <a:cubicBezTo>
                    <a:pt x="1" y="212"/>
                    <a:pt x="1" y="212"/>
                    <a:pt x="1" y="212"/>
                  </a:cubicBezTo>
                  <a:cubicBezTo>
                    <a:pt x="1" y="212"/>
                    <a:pt x="1" y="212"/>
                    <a:pt x="1" y="212"/>
                  </a:cubicBezTo>
                  <a:cubicBezTo>
                    <a:pt x="1" y="212"/>
                    <a:pt x="1" y="212"/>
                    <a:pt x="1" y="212"/>
                  </a:cubicBezTo>
                  <a:cubicBezTo>
                    <a:pt x="1" y="211"/>
                    <a:pt x="1" y="211"/>
                    <a:pt x="1" y="211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09"/>
                    <a:pt x="0" y="208"/>
                    <a:pt x="0" y="20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06"/>
                    <a:pt x="0" y="205"/>
                    <a:pt x="0" y="204"/>
                  </a:cubicBezTo>
                  <a:cubicBezTo>
                    <a:pt x="0" y="201"/>
                    <a:pt x="0" y="199"/>
                    <a:pt x="2" y="196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5" y="61"/>
                    <a:pt x="66" y="59"/>
                    <a:pt x="66" y="57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54" y="8"/>
                    <a:pt x="154" y="8"/>
                    <a:pt x="154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38" y="59"/>
                    <a:pt x="139" y="61"/>
                    <a:pt x="140" y="63"/>
                  </a:cubicBezTo>
                  <a:cubicBezTo>
                    <a:pt x="202" y="196"/>
                    <a:pt x="202" y="196"/>
                    <a:pt x="202" y="196"/>
                  </a:cubicBezTo>
                  <a:cubicBezTo>
                    <a:pt x="205" y="201"/>
                    <a:pt x="205" y="207"/>
                    <a:pt x="203" y="212"/>
                  </a:cubicBezTo>
                  <a:cubicBezTo>
                    <a:pt x="203" y="212"/>
                    <a:pt x="203" y="212"/>
                    <a:pt x="203" y="212"/>
                  </a:cubicBezTo>
                  <a:cubicBezTo>
                    <a:pt x="203" y="213"/>
                    <a:pt x="203" y="213"/>
                    <a:pt x="203" y="213"/>
                  </a:cubicBezTo>
                  <a:cubicBezTo>
                    <a:pt x="201" y="217"/>
                    <a:pt x="197" y="220"/>
                    <a:pt x="192" y="220"/>
                  </a:cubicBezTo>
                  <a:cubicBezTo>
                    <a:pt x="192" y="220"/>
                    <a:pt x="192" y="220"/>
                    <a:pt x="192" y="220"/>
                  </a:cubicBezTo>
                  <a:cubicBezTo>
                    <a:pt x="13" y="220"/>
                    <a:pt x="13" y="220"/>
                    <a:pt x="13" y="220"/>
                  </a:cubicBezTo>
                  <a:cubicBezTo>
                    <a:pt x="12" y="220"/>
                    <a:pt x="12" y="220"/>
                    <a:pt x="12" y="220"/>
                  </a:cubicBezTo>
                  <a:cubicBezTo>
                    <a:pt x="11" y="220"/>
                    <a:pt x="11" y="220"/>
                    <a:pt x="11" y="220"/>
                  </a:cubicBezTo>
                  <a:cubicBezTo>
                    <a:pt x="10" y="220"/>
                    <a:pt x="10" y="220"/>
                    <a:pt x="9" y="220"/>
                  </a:cubicBezTo>
                  <a:cubicBezTo>
                    <a:pt x="9" y="220"/>
                    <a:pt x="9" y="220"/>
                    <a:pt x="9" y="220"/>
                  </a:cubicBezTo>
                  <a:cubicBezTo>
                    <a:pt x="8" y="219"/>
                    <a:pt x="8" y="219"/>
                    <a:pt x="7" y="219"/>
                  </a:cubicBezTo>
                  <a:cubicBezTo>
                    <a:pt x="6" y="218"/>
                    <a:pt x="6" y="218"/>
                    <a:pt x="6" y="218"/>
                  </a:cubicBezTo>
                  <a:cubicBezTo>
                    <a:pt x="6" y="218"/>
                    <a:pt x="6" y="218"/>
                    <a:pt x="6" y="218"/>
                  </a:cubicBezTo>
                  <a:cubicBezTo>
                    <a:pt x="5" y="217"/>
                    <a:pt x="4" y="217"/>
                    <a:pt x="4" y="216"/>
                  </a:cubicBezTo>
                  <a:cubicBezTo>
                    <a:pt x="3" y="216"/>
                    <a:pt x="3" y="216"/>
                    <a:pt x="3" y="216"/>
                  </a:cubicBezTo>
                  <a:close/>
                  <a:moveTo>
                    <a:pt x="107" y="170"/>
                  </a:moveTo>
                  <a:cubicBezTo>
                    <a:pt x="105" y="170"/>
                    <a:pt x="105" y="170"/>
                    <a:pt x="105" y="170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83" y="185"/>
                    <a:pt x="50" y="186"/>
                    <a:pt x="23" y="175"/>
                  </a:cubicBezTo>
                  <a:cubicBezTo>
                    <a:pt x="21" y="174"/>
                    <a:pt x="21" y="174"/>
                    <a:pt x="21" y="174"/>
                  </a:cubicBezTo>
                  <a:cubicBezTo>
                    <a:pt x="9" y="200"/>
                    <a:pt x="9" y="200"/>
                    <a:pt x="9" y="200"/>
                  </a:cubicBezTo>
                  <a:cubicBezTo>
                    <a:pt x="9" y="201"/>
                    <a:pt x="9" y="201"/>
                    <a:pt x="9" y="201"/>
                  </a:cubicBezTo>
                  <a:cubicBezTo>
                    <a:pt x="7" y="203"/>
                    <a:pt x="7" y="206"/>
                    <a:pt x="8" y="209"/>
                  </a:cubicBezTo>
                  <a:cubicBezTo>
                    <a:pt x="9" y="211"/>
                    <a:pt x="10" y="212"/>
                    <a:pt x="11" y="212"/>
                  </a:cubicBezTo>
                  <a:cubicBezTo>
                    <a:pt x="12" y="212"/>
                    <a:pt x="12" y="212"/>
                    <a:pt x="12" y="212"/>
                  </a:cubicBezTo>
                  <a:cubicBezTo>
                    <a:pt x="13" y="212"/>
                    <a:pt x="13" y="212"/>
                    <a:pt x="13" y="212"/>
                  </a:cubicBezTo>
                  <a:cubicBezTo>
                    <a:pt x="192" y="212"/>
                    <a:pt x="192" y="212"/>
                    <a:pt x="192" y="212"/>
                  </a:cubicBezTo>
                  <a:cubicBezTo>
                    <a:pt x="192" y="212"/>
                    <a:pt x="192" y="212"/>
                    <a:pt x="192" y="212"/>
                  </a:cubicBezTo>
                  <a:cubicBezTo>
                    <a:pt x="194" y="212"/>
                    <a:pt x="195" y="211"/>
                    <a:pt x="196" y="209"/>
                  </a:cubicBezTo>
                  <a:cubicBezTo>
                    <a:pt x="196" y="207"/>
                    <a:pt x="197" y="204"/>
                    <a:pt x="196" y="201"/>
                  </a:cubicBezTo>
                  <a:cubicBezTo>
                    <a:pt x="195" y="201"/>
                    <a:pt x="195" y="201"/>
                    <a:pt x="195" y="201"/>
                  </a:cubicBezTo>
                  <a:cubicBezTo>
                    <a:pt x="195" y="200"/>
                    <a:pt x="195" y="200"/>
                    <a:pt x="195" y="200"/>
                  </a:cubicBezTo>
                  <a:cubicBezTo>
                    <a:pt x="178" y="163"/>
                    <a:pt x="178" y="163"/>
                    <a:pt x="178" y="163"/>
                  </a:cubicBezTo>
                  <a:cubicBezTo>
                    <a:pt x="153" y="157"/>
                    <a:pt x="124" y="159"/>
                    <a:pt x="107" y="170"/>
                  </a:cubicBezTo>
                  <a:close/>
                  <a:moveTo>
                    <a:pt x="128" y="108"/>
                  </a:moveTo>
                  <a:cubicBezTo>
                    <a:pt x="120" y="108"/>
                    <a:pt x="114" y="114"/>
                    <a:pt x="114" y="122"/>
                  </a:cubicBezTo>
                  <a:cubicBezTo>
                    <a:pt x="114" y="130"/>
                    <a:pt x="120" y="136"/>
                    <a:pt x="128" y="136"/>
                  </a:cubicBezTo>
                  <a:cubicBezTo>
                    <a:pt x="136" y="136"/>
                    <a:pt x="142" y="130"/>
                    <a:pt x="142" y="122"/>
                  </a:cubicBezTo>
                  <a:cubicBezTo>
                    <a:pt x="142" y="114"/>
                    <a:pt x="136" y="108"/>
                    <a:pt x="128" y="10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53" name="ïs1iḑé">
              <a:extLst>
                <a:ext uri="{FF2B5EF4-FFF2-40B4-BE49-F238E27FC236}">
                  <a16:creationId xmlns:a16="http://schemas.microsoft.com/office/drawing/2014/main" id="{A693E05A-70CF-40F1-AE45-1824FBFCAEE0}"/>
                </a:ext>
              </a:extLst>
            </p:cNvPr>
            <p:cNvSpPr/>
            <p:nvPr/>
          </p:nvSpPr>
          <p:spPr bwMode="auto">
            <a:xfrm>
              <a:off x="7752781" y="4612217"/>
              <a:ext cx="255032" cy="348140"/>
            </a:xfrm>
            <a:custGeom>
              <a:avLst/>
              <a:gdLst>
                <a:gd name="T0" fmla="*/ 36 w 160"/>
                <a:gd name="T1" fmla="*/ 16 h 216"/>
                <a:gd name="T2" fmla="*/ 36 w 160"/>
                <a:gd name="T3" fmla="*/ 24 h 216"/>
                <a:gd name="T4" fmla="*/ 51 w 160"/>
                <a:gd name="T5" fmla="*/ 40 h 216"/>
                <a:gd name="T6" fmla="*/ 52 w 160"/>
                <a:gd name="T7" fmla="*/ 40 h 216"/>
                <a:gd name="T8" fmla="*/ 108 w 160"/>
                <a:gd name="T9" fmla="*/ 40 h 216"/>
                <a:gd name="T10" fmla="*/ 124 w 160"/>
                <a:gd name="T11" fmla="*/ 25 h 216"/>
                <a:gd name="T12" fmla="*/ 124 w 160"/>
                <a:gd name="T13" fmla="*/ 24 h 216"/>
                <a:gd name="T14" fmla="*/ 124 w 160"/>
                <a:gd name="T15" fmla="*/ 16 h 216"/>
                <a:gd name="T16" fmla="*/ 148 w 160"/>
                <a:gd name="T17" fmla="*/ 16 h 216"/>
                <a:gd name="T18" fmla="*/ 160 w 160"/>
                <a:gd name="T19" fmla="*/ 28 h 216"/>
                <a:gd name="T20" fmla="*/ 160 w 160"/>
                <a:gd name="T21" fmla="*/ 204 h 216"/>
                <a:gd name="T22" fmla="*/ 148 w 160"/>
                <a:gd name="T23" fmla="*/ 216 h 216"/>
                <a:gd name="T24" fmla="*/ 12 w 160"/>
                <a:gd name="T25" fmla="*/ 216 h 216"/>
                <a:gd name="T26" fmla="*/ 0 w 160"/>
                <a:gd name="T27" fmla="*/ 204 h 216"/>
                <a:gd name="T28" fmla="*/ 0 w 160"/>
                <a:gd name="T29" fmla="*/ 28 h 216"/>
                <a:gd name="T30" fmla="*/ 12 w 160"/>
                <a:gd name="T31" fmla="*/ 16 h 216"/>
                <a:gd name="T32" fmla="*/ 36 w 160"/>
                <a:gd name="T33" fmla="*/ 16 h 216"/>
                <a:gd name="T34" fmla="*/ 80 w 160"/>
                <a:gd name="T35" fmla="*/ 140 h 216"/>
                <a:gd name="T36" fmla="*/ 32 w 160"/>
                <a:gd name="T37" fmla="*/ 140 h 216"/>
                <a:gd name="T38" fmla="*/ 32 w 160"/>
                <a:gd name="T39" fmla="*/ 148 h 216"/>
                <a:gd name="T40" fmla="*/ 80 w 160"/>
                <a:gd name="T41" fmla="*/ 148 h 216"/>
                <a:gd name="T42" fmla="*/ 80 w 160"/>
                <a:gd name="T43" fmla="*/ 140 h 216"/>
                <a:gd name="T44" fmla="*/ 128 w 160"/>
                <a:gd name="T45" fmla="*/ 108 h 216"/>
                <a:gd name="T46" fmla="*/ 32 w 160"/>
                <a:gd name="T47" fmla="*/ 108 h 216"/>
                <a:gd name="T48" fmla="*/ 32 w 160"/>
                <a:gd name="T49" fmla="*/ 116 h 216"/>
                <a:gd name="T50" fmla="*/ 128 w 160"/>
                <a:gd name="T51" fmla="*/ 116 h 216"/>
                <a:gd name="T52" fmla="*/ 128 w 160"/>
                <a:gd name="T53" fmla="*/ 108 h 216"/>
                <a:gd name="T54" fmla="*/ 128 w 160"/>
                <a:gd name="T55" fmla="*/ 76 h 216"/>
                <a:gd name="T56" fmla="*/ 32 w 160"/>
                <a:gd name="T57" fmla="*/ 76 h 216"/>
                <a:gd name="T58" fmla="*/ 32 w 160"/>
                <a:gd name="T59" fmla="*/ 84 h 216"/>
                <a:gd name="T60" fmla="*/ 128 w 160"/>
                <a:gd name="T61" fmla="*/ 84 h 216"/>
                <a:gd name="T62" fmla="*/ 128 w 160"/>
                <a:gd name="T63" fmla="*/ 76 h 216"/>
                <a:gd name="T64" fmla="*/ 104 w 160"/>
                <a:gd name="T65" fmla="*/ 0 h 216"/>
                <a:gd name="T66" fmla="*/ 116 w 160"/>
                <a:gd name="T67" fmla="*/ 12 h 216"/>
                <a:gd name="T68" fmla="*/ 116 w 160"/>
                <a:gd name="T69" fmla="*/ 20 h 216"/>
                <a:gd name="T70" fmla="*/ 104 w 160"/>
                <a:gd name="T71" fmla="*/ 32 h 216"/>
                <a:gd name="T72" fmla="*/ 56 w 160"/>
                <a:gd name="T73" fmla="*/ 32 h 216"/>
                <a:gd name="T74" fmla="*/ 44 w 160"/>
                <a:gd name="T75" fmla="*/ 20 h 216"/>
                <a:gd name="T76" fmla="*/ 44 w 160"/>
                <a:gd name="T77" fmla="*/ 12 h 216"/>
                <a:gd name="T78" fmla="*/ 56 w 160"/>
                <a:gd name="T79" fmla="*/ 0 h 216"/>
                <a:gd name="T80" fmla="*/ 104 w 160"/>
                <a:gd name="T8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216">
                  <a:moveTo>
                    <a:pt x="36" y="16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33"/>
                    <a:pt x="43" y="40"/>
                    <a:pt x="51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17" y="40"/>
                    <a:pt x="124" y="33"/>
                    <a:pt x="124" y="25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55" y="16"/>
                    <a:pt x="160" y="21"/>
                    <a:pt x="160" y="28"/>
                  </a:cubicBezTo>
                  <a:cubicBezTo>
                    <a:pt x="160" y="204"/>
                    <a:pt x="160" y="204"/>
                    <a:pt x="160" y="204"/>
                  </a:cubicBezTo>
                  <a:cubicBezTo>
                    <a:pt x="160" y="211"/>
                    <a:pt x="155" y="216"/>
                    <a:pt x="148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5" y="216"/>
                    <a:pt x="0" y="211"/>
                    <a:pt x="0" y="20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1"/>
                    <a:pt x="5" y="16"/>
                    <a:pt x="12" y="16"/>
                  </a:cubicBezTo>
                  <a:lnTo>
                    <a:pt x="36" y="16"/>
                  </a:lnTo>
                  <a:close/>
                  <a:moveTo>
                    <a:pt x="80" y="140"/>
                  </a:moveTo>
                  <a:cubicBezTo>
                    <a:pt x="32" y="140"/>
                    <a:pt x="32" y="140"/>
                    <a:pt x="32" y="14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80" y="148"/>
                    <a:pt x="80" y="148"/>
                    <a:pt x="80" y="148"/>
                  </a:cubicBezTo>
                  <a:lnTo>
                    <a:pt x="80" y="140"/>
                  </a:lnTo>
                  <a:close/>
                  <a:moveTo>
                    <a:pt x="128" y="108"/>
                  </a:moveTo>
                  <a:cubicBezTo>
                    <a:pt x="32" y="108"/>
                    <a:pt x="32" y="108"/>
                    <a:pt x="32" y="108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128" y="116"/>
                    <a:pt x="128" y="116"/>
                    <a:pt x="128" y="116"/>
                  </a:cubicBezTo>
                  <a:lnTo>
                    <a:pt x="128" y="108"/>
                  </a:lnTo>
                  <a:close/>
                  <a:moveTo>
                    <a:pt x="128" y="76"/>
                  </a:moveTo>
                  <a:cubicBezTo>
                    <a:pt x="32" y="76"/>
                    <a:pt x="32" y="76"/>
                    <a:pt x="32" y="76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128" y="84"/>
                    <a:pt x="128" y="84"/>
                    <a:pt x="128" y="84"/>
                  </a:cubicBezTo>
                  <a:lnTo>
                    <a:pt x="128" y="76"/>
                  </a:lnTo>
                  <a:close/>
                  <a:moveTo>
                    <a:pt x="104" y="0"/>
                  </a:moveTo>
                  <a:cubicBezTo>
                    <a:pt x="111" y="0"/>
                    <a:pt x="116" y="5"/>
                    <a:pt x="116" y="12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27"/>
                    <a:pt x="111" y="32"/>
                    <a:pt x="104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49" y="32"/>
                    <a:pt x="44" y="27"/>
                    <a:pt x="44" y="20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5"/>
                    <a:pt x="49" y="0"/>
                    <a:pt x="56" y="0"/>
                  </a:cubicBezTo>
                  <a:lnTo>
                    <a:pt x="10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54" name="îṧḷiďè">
              <a:extLst>
                <a:ext uri="{FF2B5EF4-FFF2-40B4-BE49-F238E27FC236}">
                  <a16:creationId xmlns:a16="http://schemas.microsoft.com/office/drawing/2014/main" id="{7BAD22E1-6DE3-46DE-842B-446916B202D2}"/>
                </a:ext>
              </a:extLst>
            </p:cNvPr>
            <p:cNvSpPr/>
            <p:nvPr/>
          </p:nvSpPr>
          <p:spPr bwMode="auto">
            <a:xfrm>
              <a:off x="9135210" y="4627747"/>
              <a:ext cx="348140" cy="317079"/>
            </a:xfrm>
            <a:custGeom>
              <a:avLst/>
              <a:gdLst>
                <a:gd name="T0" fmla="*/ 52 w 224"/>
                <a:gd name="T1" fmla="*/ 96 h 204"/>
                <a:gd name="T2" fmla="*/ 52 w 224"/>
                <a:gd name="T3" fmla="*/ 116 h 204"/>
                <a:gd name="T4" fmla="*/ 60 w 224"/>
                <a:gd name="T5" fmla="*/ 116 h 204"/>
                <a:gd name="T6" fmla="*/ 60 w 224"/>
                <a:gd name="T7" fmla="*/ 96 h 204"/>
                <a:gd name="T8" fmla="*/ 164 w 224"/>
                <a:gd name="T9" fmla="*/ 96 h 204"/>
                <a:gd name="T10" fmla="*/ 164 w 224"/>
                <a:gd name="T11" fmla="*/ 116 h 204"/>
                <a:gd name="T12" fmla="*/ 172 w 224"/>
                <a:gd name="T13" fmla="*/ 116 h 204"/>
                <a:gd name="T14" fmla="*/ 172 w 224"/>
                <a:gd name="T15" fmla="*/ 96 h 204"/>
                <a:gd name="T16" fmla="*/ 224 w 224"/>
                <a:gd name="T17" fmla="*/ 96 h 204"/>
                <a:gd name="T18" fmla="*/ 224 w 224"/>
                <a:gd name="T19" fmla="*/ 192 h 204"/>
                <a:gd name="T20" fmla="*/ 212 w 224"/>
                <a:gd name="T21" fmla="*/ 204 h 204"/>
                <a:gd name="T22" fmla="*/ 12 w 224"/>
                <a:gd name="T23" fmla="*/ 204 h 204"/>
                <a:gd name="T24" fmla="*/ 0 w 224"/>
                <a:gd name="T25" fmla="*/ 192 h 204"/>
                <a:gd name="T26" fmla="*/ 0 w 224"/>
                <a:gd name="T27" fmla="*/ 96 h 204"/>
                <a:gd name="T28" fmla="*/ 52 w 224"/>
                <a:gd name="T29" fmla="*/ 96 h 204"/>
                <a:gd name="T30" fmla="*/ 156 w 224"/>
                <a:gd name="T31" fmla="*/ 0 h 204"/>
                <a:gd name="T32" fmla="*/ 172 w 224"/>
                <a:gd name="T33" fmla="*/ 15 h 204"/>
                <a:gd name="T34" fmla="*/ 172 w 224"/>
                <a:gd name="T35" fmla="*/ 16 h 204"/>
                <a:gd name="T36" fmla="*/ 172 w 224"/>
                <a:gd name="T37" fmla="*/ 48 h 204"/>
                <a:gd name="T38" fmla="*/ 212 w 224"/>
                <a:gd name="T39" fmla="*/ 48 h 204"/>
                <a:gd name="T40" fmla="*/ 224 w 224"/>
                <a:gd name="T41" fmla="*/ 60 h 204"/>
                <a:gd name="T42" fmla="*/ 224 w 224"/>
                <a:gd name="T43" fmla="*/ 88 h 204"/>
                <a:gd name="T44" fmla="*/ 0 w 224"/>
                <a:gd name="T45" fmla="*/ 88 h 204"/>
                <a:gd name="T46" fmla="*/ 0 w 224"/>
                <a:gd name="T47" fmla="*/ 60 h 204"/>
                <a:gd name="T48" fmla="*/ 12 w 224"/>
                <a:gd name="T49" fmla="*/ 48 h 204"/>
                <a:gd name="T50" fmla="*/ 52 w 224"/>
                <a:gd name="T51" fmla="*/ 48 h 204"/>
                <a:gd name="T52" fmla="*/ 52 w 224"/>
                <a:gd name="T53" fmla="*/ 16 h 204"/>
                <a:gd name="T54" fmla="*/ 67 w 224"/>
                <a:gd name="T55" fmla="*/ 0 h 204"/>
                <a:gd name="T56" fmla="*/ 68 w 224"/>
                <a:gd name="T57" fmla="*/ 0 h 204"/>
                <a:gd name="T58" fmla="*/ 156 w 224"/>
                <a:gd name="T59" fmla="*/ 0 h 204"/>
                <a:gd name="T60" fmla="*/ 156 w 224"/>
                <a:gd name="T61" fmla="*/ 8 h 204"/>
                <a:gd name="T62" fmla="*/ 68 w 224"/>
                <a:gd name="T63" fmla="*/ 8 h 204"/>
                <a:gd name="T64" fmla="*/ 60 w 224"/>
                <a:gd name="T65" fmla="*/ 15 h 204"/>
                <a:gd name="T66" fmla="*/ 60 w 224"/>
                <a:gd name="T67" fmla="*/ 16 h 204"/>
                <a:gd name="T68" fmla="*/ 60 w 224"/>
                <a:gd name="T69" fmla="*/ 48 h 204"/>
                <a:gd name="T70" fmla="*/ 164 w 224"/>
                <a:gd name="T71" fmla="*/ 48 h 204"/>
                <a:gd name="T72" fmla="*/ 164 w 224"/>
                <a:gd name="T73" fmla="*/ 16 h 204"/>
                <a:gd name="T74" fmla="*/ 157 w 224"/>
                <a:gd name="T75" fmla="*/ 8 h 204"/>
                <a:gd name="T76" fmla="*/ 157 w 224"/>
                <a:gd name="T77" fmla="*/ 8 h 204"/>
                <a:gd name="T78" fmla="*/ 156 w 224"/>
                <a:gd name="T79" fmla="*/ 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4" h="204">
                  <a:moveTo>
                    <a:pt x="52" y="96"/>
                  </a:moveTo>
                  <a:cubicBezTo>
                    <a:pt x="52" y="116"/>
                    <a:pt x="52" y="116"/>
                    <a:pt x="52" y="116"/>
                  </a:cubicBezTo>
                  <a:cubicBezTo>
                    <a:pt x="60" y="116"/>
                    <a:pt x="60" y="116"/>
                    <a:pt x="60" y="116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164" y="96"/>
                    <a:pt x="164" y="96"/>
                    <a:pt x="164" y="96"/>
                  </a:cubicBezTo>
                  <a:cubicBezTo>
                    <a:pt x="164" y="116"/>
                    <a:pt x="164" y="116"/>
                    <a:pt x="164" y="116"/>
                  </a:cubicBezTo>
                  <a:cubicBezTo>
                    <a:pt x="172" y="116"/>
                    <a:pt x="172" y="116"/>
                    <a:pt x="172" y="116"/>
                  </a:cubicBezTo>
                  <a:cubicBezTo>
                    <a:pt x="172" y="96"/>
                    <a:pt x="172" y="96"/>
                    <a:pt x="172" y="96"/>
                  </a:cubicBezTo>
                  <a:cubicBezTo>
                    <a:pt x="224" y="96"/>
                    <a:pt x="224" y="96"/>
                    <a:pt x="224" y="96"/>
                  </a:cubicBezTo>
                  <a:cubicBezTo>
                    <a:pt x="224" y="192"/>
                    <a:pt x="224" y="192"/>
                    <a:pt x="224" y="192"/>
                  </a:cubicBezTo>
                  <a:cubicBezTo>
                    <a:pt x="224" y="199"/>
                    <a:pt x="219" y="204"/>
                    <a:pt x="212" y="204"/>
                  </a:cubicBezTo>
                  <a:cubicBezTo>
                    <a:pt x="12" y="204"/>
                    <a:pt x="12" y="204"/>
                    <a:pt x="12" y="204"/>
                  </a:cubicBezTo>
                  <a:cubicBezTo>
                    <a:pt x="5" y="204"/>
                    <a:pt x="0" y="199"/>
                    <a:pt x="0" y="192"/>
                  </a:cubicBezTo>
                  <a:cubicBezTo>
                    <a:pt x="0" y="96"/>
                    <a:pt x="0" y="96"/>
                    <a:pt x="0" y="96"/>
                  </a:cubicBezTo>
                  <a:lnTo>
                    <a:pt x="52" y="96"/>
                  </a:lnTo>
                  <a:close/>
                  <a:moveTo>
                    <a:pt x="156" y="0"/>
                  </a:moveTo>
                  <a:cubicBezTo>
                    <a:pt x="165" y="0"/>
                    <a:pt x="172" y="7"/>
                    <a:pt x="172" y="15"/>
                  </a:cubicBezTo>
                  <a:cubicBezTo>
                    <a:pt x="172" y="16"/>
                    <a:pt x="172" y="16"/>
                    <a:pt x="172" y="16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212" y="48"/>
                    <a:pt x="212" y="48"/>
                    <a:pt x="212" y="48"/>
                  </a:cubicBezTo>
                  <a:cubicBezTo>
                    <a:pt x="219" y="48"/>
                    <a:pt x="224" y="53"/>
                    <a:pt x="224" y="60"/>
                  </a:cubicBezTo>
                  <a:cubicBezTo>
                    <a:pt x="224" y="88"/>
                    <a:pt x="224" y="88"/>
                    <a:pt x="224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3"/>
                    <a:pt x="5" y="48"/>
                    <a:pt x="12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7"/>
                    <a:pt x="59" y="0"/>
                    <a:pt x="67" y="0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156" y="0"/>
                  </a:lnTo>
                  <a:close/>
                  <a:moveTo>
                    <a:pt x="156" y="8"/>
                  </a:moveTo>
                  <a:cubicBezTo>
                    <a:pt x="68" y="8"/>
                    <a:pt x="68" y="8"/>
                    <a:pt x="68" y="8"/>
                  </a:cubicBezTo>
                  <a:cubicBezTo>
                    <a:pt x="64" y="8"/>
                    <a:pt x="60" y="11"/>
                    <a:pt x="60" y="15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2"/>
                    <a:pt x="161" y="9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lnTo>
                    <a:pt x="156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55" name="ïšļïḓè">
              <a:extLst>
                <a:ext uri="{FF2B5EF4-FFF2-40B4-BE49-F238E27FC236}">
                  <a16:creationId xmlns:a16="http://schemas.microsoft.com/office/drawing/2014/main" id="{F21AA1DF-974D-444F-84E4-B4B733FF9C8C}"/>
                </a:ext>
              </a:extLst>
            </p:cNvPr>
            <p:cNvSpPr/>
            <p:nvPr/>
          </p:nvSpPr>
          <p:spPr bwMode="auto">
            <a:xfrm>
              <a:off x="10575514" y="4664307"/>
              <a:ext cx="348140" cy="243956"/>
            </a:xfrm>
            <a:custGeom>
              <a:avLst/>
              <a:gdLst>
                <a:gd name="connsiteX0" fmla="*/ 381000 w 854075"/>
                <a:gd name="connsiteY0" fmla="*/ 295275 h 598487"/>
                <a:gd name="connsiteX1" fmla="*/ 381000 w 854075"/>
                <a:gd name="connsiteY1" fmla="*/ 327025 h 598487"/>
                <a:gd name="connsiteX2" fmla="*/ 747713 w 854075"/>
                <a:gd name="connsiteY2" fmla="*/ 327025 h 598487"/>
                <a:gd name="connsiteX3" fmla="*/ 747713 w 854075"/>
                <a:gd name="connsiteY3" fmla="*/ 295275 h 598487"/>
                <a:gd name="connsiteX4" fmla="*/ 130175 w 854075"/>
                <a:gd name="connsiteY4" fmla="*/ 295275 h 598487"/>
                <a:gd name="connsiteX5" fmla="*/ 130175 w 854075"/>
                <a:gd name="connsiteY5" fmla="*/ 327025 h 598487"/>
                <a:gd name="connsiteX6" fmla="*/ 260350 w 854075"/>
                <a:gd name="connsiteY6" fmla="*/ 327025 h 598487"/>
                <a:gd name="connsiteX7" fmla="*/ 260350 w 854075"/>
                <a:gd name="connsiteY7" fmla="*/ 295275 h 598487"/>
                <a:gd name="connsiteX8" fmla="*/ 0 w 854075"/>
                <a:gd name="connsiteY8" fmla="*/ 184150 h 598487"/>
                <a:gd name="connsiteX9" fmla="*/ 198267 w 854075"/>
                <a:gd name="connsiteY9" fmla="*/ 184150 h 598487"/>
                <a:gd name="connsiteX10" fmla="*/ 228770 w 854075"/>
                <a:gd name="connsiteY10" fmla="*/ 184150 h 598487"/>
                <a:gd name="connsiteX11" fmla="*/ 625305 w 854075"/>
                <a:gd name="connsiteY11" fmla="*/ 184150 h 598487"/>
                <a:gd name="connsiteX12" fmla="*/ 655808 w 854075"/>
                <a:gd name="connsiteY12" fmla="*/ 184150 h 598487"/>
                <a:gd name="connsiteX13" fmla="*/ 854075 w 854075"/>
                <a:gd name="connsiteY13" fmla="*/ 184150 h 598487"/>
                <a:gd name="connsiteX14" fmla="*/ 854075 w 854075"/>
                <a:gd name="connsiteY14" fmla="*/ 552450 h 598487"/>
                <a:gd name="connsiteX15" fmla="*/ 808321 w 854075"/>
                <a:gd name="connsiteY15" fmla="*/ 598487 h 598487"/>
                <a:gd name="connsiteX16" fmla="*/ 45754 w 854075"/>
                <a:gd name="connsiteY16" fmla="*/ 598487 h 598487"/>
                <a:gd name="connsiteX17" fmla="*/ 0 w 854075"/>
                <a:gd name="connsiteY17" fmla="*/ 552450 h 598487"/>
                <a:gd name="connsiteX18" fmla="*/ 0 w 854075"/>
                <a:gd name="connsiteY18" fmla="*/ 184150 h 598487"/>
                <a:gd name="connsiteX19" fmla="*/ 45754 w 854075"/>
                <a:gd name="connsiteY19" fmla="*/ 0 h 598487"/>
                <a:gd name="connsiteX20" fmla="*/ 198267 w 854075"/>
                <a:gd name="connsiteY20" fmla="*/ 0 h 598487"/>
                <a:gd name="connsiteX21" fmla="*/ 655808 w 854075"/>
                <a:gd name="connsiteY21" fmla="*/ 0 h 598487"/>
                <a:gd name="connsiteX22" fmla="*/ 808321 w 854075"/>
                <a:gd name="connsiteY22" fmla="*/ 0 h 598487"/>
                <a:gd name="connsiteX23" fmla="*/ 854075 w 854075"/>
                <a:gd name="connsiteY23" fmla="*/ 46196 h 598487"/>
                <a:gd name="connsiteX24" fmla="*/ 854075 w 854075"/>
                <a:gd name="connsiteY24" fmla="*/ 153987 h 598487"/>
                <a:gd name="connsiteX25" fmla="*/ 0 w 854075"/>
                <a:gd name="connsiteY25" fmla="*/ 153987 h 598487"/>
                <a:gd name="connsiteX26" fmla="*/ 0 w 854075"/>
                <a:gd name="connsiteY26" fmla="*/ 46196 h 598487"/>
                <a:gd name="connsiteX27" fmla="*/ 45754 w 854075"/>
                <a:gd name="connsiteY27" fmla="*/ 0 h 59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54075" h="598487">
                  <a:moveTo>
                    <a:pt x="381000" y="295275"/>
                  </a:moveTo>
                  <a:lnTo>
                    <a:pt x="381000" y="327025"/>
                  </a:lnTo>
                  <a:lnTo>
                    <a:pt x="747713" y="327025"/>
                  </a:lnTo>
                  <a:lnTo>
                    <a:pt x="747713" y="295275"/>
                  </a:lnTo>
                  <a:close/>
                  <a:moveTo>
                    <a:pt x="130175" y="295275"/>
                  </a:moveTo>
                  <a:lnTo>
                    <a:pt x="130175" y="327025"/>
                  </a:lnTo>
                  <a:lnTo>
                    <a:pt x="260350" y="327025"/>
                  </a:lnTo>
                  <a:lnTo>
                    <a:pt x="260350" y="295275"/>
                  </a:lnTo>
                  <a:close/>
                  <a:moveTo>
                    <a:pt x="0" y="184150"/>
                  </a:moveTo>
                  <a:lnTo>
                    <a:pt x="198267" y="184150"/>
                  </a:lnTo>
                  <a:cubicBezTo>
                    <a:pt x="228770" y="184150"/>
                    <a:pt x="228770" y="184150"/>
                    <a:pt x="228770" y="184150"/>
                  </a:cubicBezTo>
                  <a:cubicBezTo>
                    <a:pt x="625305" y="184150"/>
                    <a:pt x="625305" y="184150"/>
                    <a:pt x="625305" y="184150"/>
                  </a:cubicBezTo>
                  <a:cubicBezTo>
                    <a:pt x="655808" y="184150"/>
                    <a:pt x="655808" y="184150"/>
                    <a:pt x="655808" y="184150"/>
                  </a:cubicBezTo>
                  <a:cubicBezTo>
                    <a:pt x="854075" y="184150"/>
                    <a:pt x="854075" y="184150"/>
                    <a:pt x="854075" y="184150"/>
                  </a:cubicBezTo>
                  <a:cubicBezTo>
                    <a:pt x="854075" y="552450"/>
                    <a:pt x="854075" y="552450"/>
                    <a:pt x="854075" y="552450"/>
                  </a:cubicBezTo>
                  <a:cubicBezTo>
                    <a:pt x="854075" y="579305"/>
                    <a:pt x="835011" y="598487"/>
                    <a:pt x="808321" y="598487"/>
                  </a:cubicBezTo>
                  <a:cubicBezTo>
                    <a:pt x="45754" y="598487"/>
                    <a:pt x="45754" y="598487"/>
                    <a:pt x="45754" y="598487"/>
                  </a:cubicBezTo>
                  <a:cubicBezTo>
                    <a:pt x="22877" y="598487"/>
                    <a:pt x="0" y="579305"/>
                    <a:pt x="0" y="552450"/>
                  </a:cubicBezTo>
                  <a:cubicBezTo>
                    <a:pt x="0" y="184150"/>
                    <a:pt x="0" y="184150"/>
                    <a:pt x="0" y="184150"/>
                  </a:cubicBezTo>
                  <a:close/>
                  <a:moveTo>
                    <a:pt x="45754" y="0"/>
                  </a:moveTo>
                  <a:cubicBezTo>
                    <a:pt x="198267" y="0"/>
                    <a:pt x="198267" y="0"/>
                    <a:pt x="198267" y="0"/>
                  </a:cubicBezTo>
                  <a:lnTo>
                    <a:pt x="655808" y="0"/>
                  </a:lnTo>
                  <a:cubicBezTo>
                    <a:pt x="808321" y="0"/>
                    <a:pt x="808321" y="0"/>
                    <a:pt x="808321" y="0"/>
                  </a:cubicBezTo>
                  <a:cubicBezTo>
                    <a:pt x="835011" y="0"/>
                    <a:pt x="854075" y="19249"/>
                    <a:pt x="854075" y="46196"/>
                  </a:cubicBezTo>
                  <a:cubicBezTo>
                    <a:pt x="854075" y="153987"/>
                    <a:pt x="854075" y="153987"/>
                    <a:pt x="854075" y="153987"/>
                  </a:cubicBezTo>
                  <a:cubicBezTo>
                    <a:pt x="0" y="153987"/>
                    <a:pt x="0" y="153987"/>
                    <a:pt x="0" y="153987"/>
                  </a:cubicBezTo>
                  <a:cubicBezTo>
                    <a:pt x="0" y="46196"/>
                    <a:pt x="0" y="46196"/>
                    <a:pt x="0" y="46196"/>
                  </a:cubicBezTo>
                  <a:cubicBezTo>
                    <a:pt x="0" y="19249"/>
                    <a:pt x="22877" y="0"/>
                    <a:pt x="4575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cxnSp>
          <p:nvCxnSpPr>
            <p:cNvPr id="256" name="ïṩľîḑê">
              <a:extLst>
                <a:ext uri="{FF2B5EF4-FFF2-40B4-BE49-F238E27FC236}">
                  <a16:creationId xmlns:a16="http://schemas.microsoft.com/office/drawing/2014/main" id="{21EA740D-9E6B-4F4A-91D7-B9371C11F1F7}"/>
                </a:ext>
              </a:extLst>
            </p:cNvPr>
            <p:cNvCxnSpPr>
              <a:cxnSpLocks/>
            </p:cNvCxnSpPr>
            <p:nvPr/>
          </p:nvCxnSpPr>
          <p:spPr>
            <a:xfrm>
              <a:off x="9316822" y="2230000"/>
              <a:ext cx="0" cy="228096"/>
            </a:xfrm>
            <a:prstGeom prst="line">
              <a:avLst/>
            </a:prstGeom>
            <a:ln w="12700" cap="sq">
              <a:solidFill>
                <a:schemeClr val="bg1">
                  <a:lumMod val="7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7" name="ïṩ1îďe">
              <a:extLst>
                <a:ext uri="{FF2B5EF4-FFF2-40B4-BE49-F238E27FC236}">
                  <a16:creationId xmlns:a16="http://schemas.microsoft.com/office/drawing/2014/main" id="{B6345E98-7F2F-4B16-B16A-0D8C7055307A}"/>
                </a:ext>
              </a:extLst>
            </p:cNvPr>
            <p:cNvSpPr/>
            <p:nvPr/>
          </p:nvSpPr>
          <p:spPr bwMode="auto">
            <a:xfrm>
              <a:off x="1312745" y="4612217"/>
              <a:ext cx="314572" cy="348140"/>
            </a:xfrm>
            <a:custGeom>
              <a:avLst/>
              <a:gdLst>
                <a:gd name="T0" fmla="*/ 104 w 208"/>
                <a:gd name="T1" fmla="*/ 0 h 228"/>
                <a:gd name="T2" fmla="*/ 208 w 208"/>
                <a:gd name="T3" fmla="*/ 104 h 228"/>
                <a:gd name="T4" fmla="*/ 136 w 208"/>
                <a:gd name="T5" fmla="*/ 203 h 228"/>
                <a:gd name="T6" fmla="*/ 145 w 208"/>
                <a:gd name="T7" fmla="*/ 220 h 228"/>
                <a:gd name="T8" fmla="*/ 176 w 208"/>
                <a:gd name="T9" fmla="*/ 220 h 228"/>
                <a:gd name="T10" fmla="*/ 176 w 208"/>
                <a:gd name="T11" fmla="*/ 228 h 228"/>
                <a:gd name="T12" fmla="*/ 32 w 208"/>
                <a:gd name="T13" fmla="*/ 228 h 228"/>
                <a:gd name="T14" fmla="*/ 32 w 208"/>
                <a:gd name="T15" fmla="*/ 220 h 228"/>
                <a:gd name="T16" fmla="*/ 63 w 208"/>
                <a:gd name="T17" fmla="*/ 220 h 228"/>
                <a:gd name="T18" fmla="*/ 72 w 208"/>
                <a:gd name="T19" fmla="*/ 203 h 228"/>
                <a:gd name="T20" fmla="*/ 0 w 208"/>
                <a:gd name="T21" fmla="*/ 104 h 228"/>
                <a:gd name="T22" fmla="*/ 104 w 208"/>
                <a:gd name="T23" fmla="*/ 0 h 228"/>
                <a:gd name="T24" fmla="*/ 80 w 208"/>
                <a:gd name="T25" fmla="*/ 205 h 228"/>
                <a:gd name="T26" fmla="*/ 72 w 208"/>
                <a:gd name="T27" fmla="*/ 220 h 228"/>
                <a:gd name="T28" fmla="*/ 136 w 208"/>
                <a:gd name="T29" fmla="*/ 220 h 228"/>
                <a:gd name="T30" fmla="*/ 128 w 208"/>
                <a:gd name="T31" fmla="*/ 205 h 228"/>
                <a:gd name="T32" fmla="*/ 104 w 208"/>
                <a:gd name="T33" fmla="*/ 208 h 228"/>
                <a:gd name="T34" fmla="*/ 80 w 208"/>
                <a:gd name="T35" fmla="*/ 205 h 228"/>
                <a:gd name="T36" fmla="*/ 104 w 208"/>
                <a:gd name="T37" fmla="*/ 60 h 228"/>
                <a:gd name="T38" fmla="*/ 60 w 208"/>
                <a:gd name="T39" fmla="*/ 104 h 228"/>
                <a:gd name="T40" fmla="*/ 104 w 208"/>
                <a:gd name="T41" fmla="*/ 148 h 228"/>
                <a:gd name="T42" fmla="*/ 148 w 208"/>
                <a:gd name="T43" fmla="*/ 104 h 228"/>
                <a:gd name="T44" fmla="*/ 104 w 208"/>
                <a:gd name="T45" fmla="*/ 60 h 228"/>
                <a:gd name="T46" fmla="*/ 154 w 208"/>
                <a:gd name="T47" fmla="*/ 48 h 228"/>
                <a:gd name="T48" fmla="*/ 148 w 208"/>
                <a:gd name="T49" fmla="*/ 54 h 228"/>
                <a:gd name="T50" fmla="*/ 154 w 208"/>
                <a:gd name="T51" fmla="*/ 60 h 228"/>
                <a:gd name="T52" fmla="*/ 160 w 208"/>
                <a:gd name="T53" fmla="*/ 54 h 228"/>
                <a:gd name="T54" fmla="*/ 154 w 208"/>
                <a:gd name="T55" fmla="*/ 4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8" h="228">
                  <a:moveTo>
                    <a:pt x="104" y="0"/>
                  </a:moveTo>
                  <a:cubicBezTo>
                    <a:pt x="161" y="0"/>
                    <a:pt x="208" y="47"/>
                    <a:pt x="208" y="104"/>
                  </a:cubicBezTo>
                  <a:cubicBezTo>
                    <a:pt x="208" y="150"/>
                    <a:pt x="178" y="190"/>
                    <a:pt x="136" y="203"/>
                  </a:cubicBezTo>
                  <a:cubicBezTo>
                    <a:pt x="145" y="220"/>
                    <a:pt x="145" y="220"/>
                    <a:pt x="145" y="220"/>
                  </a:cubicBezTo>
                  <a:cubicBezTo>
                    <a:pt x="176" y="220"/>
                    <a:pt x="176" y="220"/>
                    <a:pt x="176" y="220"/>
                  </a:cubicBezTo>
                  <a:cubicBezTo>
                    <a:pt x="176" y="228"/>
                    <a:pt x="176" y="228"/>
                    <a:pt x="176" y="228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20"/>
                    <a:pt x="32" y="220"/>
                    <a:pt x="32" y="220"/>
                  </a:cubicBezTo>
                  <a:cubicBezTo>
                    <a:pt x="63" y="220"/>
                    <a:pt x="63" y="220"/>
                    <a:pt x="63" y="220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30" y="190"/>
                    <a:pt x="0" y="150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lose/>
                  <a:moveTo>
                    <a:pt x="80" y="205"/>
                  </a:moveTo>
                  <a:cubicBezTo>
                    <a:pt x="72" y="220"/>
                    <a:pt x="72" y="220"/>
                    <a:pt x="72" y="220"/>
                  </a:cubicBezTo>
                  <a:cubicBezTo>
                    <a:pt x="136" y="220"/>
                    <a:pt x="136" y="220"/>
                    <a:pt x="136" y="22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20" y="207"/>
                    <a:pt x="112" y="208"/>
                    <a:pt x="104" y="208"/>
                  </a:cubicBezTo>
                  <a:cubicBezTo>
                    <a:pt x="96" y="208"/>
                    <a:pt x="88" y="207"/>
                    <a:pt x="80" y="205"/>
                  </a:cubicBezTo>
                  <a:close/>
                  <a:moveTo>
                    <a:pt x="104" y="60"/>
                  </a:moveTo>
                  <a:cubicBezTo>
                    <a:pt x="80" y="60"/>
                    <a:pt x="60" y="80"/>
                    <a:pt x="60" y="104"/>
                  </a:cubicBezTo>
                  <a:cubicBezTo>
                    <a:pt x="60" y="128"/>
                    <a:pt x="80" y="148"/>
                    <a:pt x="104" y="148"/>
                  </a:cubicBezTo>
                  <a:cubicBezTo>
                    <a:pt x="128" y="148"/>
                    <a:pt x="148" y="128"/>
                    <a:pt x="148" y="104"/>
                  </a:cubicBezTo>
                  <a:cubicBezTo>
                    <a:pt x="148" y="80"/>
                    <a:pt x="128" y="60"/>
                    <a:pt x="104" y="60"/>
                  </a:cubicBezTo>
                  <a:close/>
                  <a:moveTo>
                    <a:pt x="154" y="48"/>
                  </a:moveTo>
                  <a:cubicBezTo>
                    <a:pt x="151" y="48"/>
                    <a:pt x="148" y="51"/>
                    <a:pt x="148" y="54"/>
                  </a:cubicBezTo>
                  <a:cubicBezTo>
                    <a:pt x="148" y="57"/>
                    <a:pt x="151" y="60"/>
                    <a:pt x="154" y="60"/>
                  </a:cubicBezTo>
                  <a:cubicBezTo>
                    <a:pt x="157" y="60"/>
                    <a:pt x="160" y="57"/>
                    <a:pt x="160" y="54"/>
                  </a:cubicBezTo>
                  <a:cubicBezTo>
                    <a:pt x="160" y="51"/>
                    <a:pt x="157" y="48"/>
                    <a:pt x="154" y="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cxnSp>
          <p:nvCxnSpPr>
            <p:cNvPr id="258" name="i$ḻïḍé">
              <a:extLst>
                <a:ext uri="{FF2B5EF4-FFF2-40B4-BE49-F238E27FC236}">
                  <a16:creationId xmlns:a16="http://schemas.microsoft.com/office/drawing/2014/main" id="{8A963A45-1A75-43CA-BA10-AF289761B387}"/>
                </a:ext>
              </a:extLst>
            </p:cNvPr>
            <p:cNvCxnSpPr>
              <a:cxnSpLocks/>
            </p:cNvCxnSpPr>
            <p:nvPr/>
          </p:nvCxnSpPr>
          <p:spPr>
            <a:xfrm>
              <a:off x="6141004" y="2038350"/>
              <a:ext cx="0" cy="419746"/>
            </a:xfrm>
            <a:prstGeom prst="line">
              <a:avLst/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íSḻïďe">
              <a:extLst>
                <a:ext uri="{FF2B5EF4-FFF2-40B4-BE49-F238E27FC236}">
                  <a16:creationId xmlns:a16="http://schemas.microsoft.com/office/drawing/2014/main" id="{96D25336-0C9E-4C81-81CB-F6BF80CBC296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1429669" y="4033353"/>
              <a:ext cx="2958375" cy="217918"/>
            </a:xfrm>
            <a:prstGeom prst="bentConnector3">
              <a:avLst>
                <a:gd name="adj1" fmla="val 100012"/>
              </a:avLst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ïS1íḍè">
              <a:extLst>
                <a:ext uri="{FF2B5EF4-FFF2-40B4-BE49-F238E27FC236}">
                  <a16:creationId xmlns:a16="http://schemas.microsoft.com/office/drawing/2014/main" id="{E8CDD6C7-F782-4667-BCAA-FAD93ADB1F2F}"/>
                </a:ext>
              </a:extLst>
            </p:cNvPr>
            <p:cNvCxnSpPr>
              <a:cxnSpLocks/>
            </p:cNvCxnSpPr>
            <p:nvPr/>
          </p:nvCxnSpPr>
          <p:spPr>
            <a:xfrm>
              <a:off x="4388044" y="4033353"/>
              <a:ext cx="0" cy="193829"/>
            </a:xfrm>
            <a:prstGeom prst="line">
              <a:avLst/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iṥḷiďè">
              <a:extLst>
                <a:ext uri="{FF2B5EF4-FFF2-40B4-BE49-F238E27FC236}">
                  <a16:creationId xmlns:a16="http://schemas.microsoft.com/office/drawing/2014/main" id="{8B69454C-51B6-4667-BAF5-AC16A7EFE271}"/>
                </a:ext>
              </a:extLst>
            </p:cNvPr>
            <p:cNvCxnSpPr>
              <a:cxnSpLocks/>
            </p:cNvCxnSpPr>
            <p:nvPr/>
          </p:nvCxnSpPr>
          <p:spPr>
            <a:xfrm>
              <a:off x="2899056" y="3823480"/>
              <a:ext cx="0" cy="419746"/>
            </a:xfrm>
            <a:prstGeom prst="line">
              <a:avLst/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íṩļíde">
              <a:extLst>
                <a:ext uri="{FF2B5EF4-FFF2-40B4-BE49-F238E27FC236}">
                  <a16:creationId xmlns:a16="http://schemas.microsoft.com/office/drawing/2014/main" id="{EFE3B91A-EBB8-41C7-92B9-E686B7555A32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7837634" y="4009264"/>
              <a:ext cx="2958375" cy="217918"/>
            </a:xfrm>
            <a:prstGeom prst="bentConnector3">
              <a:avLst>
                <a:gd name="adj1" fmla="val 100012"/>
              </a:avLst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íšḻîdé">
              <a:extLst>
                <a:ext uri="{FF2B5EF4-FFF2-40B4-BE49-F238E27FC236}">
                  <a16:creationId xmlns:a16="http://schemas.microsoft.com/office/drawing/2014/main" id="{9C4CAC09-0987-4D43-8E08-B4BEF86B0632}"/>
                </a:ext>
              </a:extLst>
            </p:cNvPr>
            <p:cNvCxnSpPr>
              <a:cxnSpLocks/>
            </p:cNvCxnSpPr>
            <p:nvPr/>
          </p:nvCxnSpPr>
          <p:spPr>
            <a:xfrm>
              <a:off x="10796009" y="4009264"/>
              <a:ext cx="0" cy="217918"/>
            </a:xfrm>
            <a:prstGeom prst="line">
              <a:avLst/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íšľïḑê">
              <a:extLst>
                <a:ext uri="{FF2B5EF4-FFF2-40B4-BE49-F238E27FC236}">
                  <a16:creationId xmlns:a16="http://schemas.microsoft.com/office/drawing/2014/main" id="{8C89DB8A-D364-4B2F-A544-8E2D070BBCBC}"/>
                </a:ext>
              </a:extLst>
            </p:cNvPr>
            <p:cNvCxnSpPr>
              <a:cxnSpLocks/>
            </p:cNvCxnSpPr>
            <p:nvPr/>
          </p:nvCxnSpPr>
          <p:spPr>
            <a:xfrm>
              <a:off x="9319758" y="3831525"/>
              <a:ext cx="0" cy="395657"/>
            </a:xfrm>
            <a:prstGeom prst="line">
              <a:avLst/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îṧļiḑé">
              <a:extLst>
                <a:ext uri="{FF2B5EF4-FFF2-40B4-BE49-F238E27FC236}">
                  <a16:creationId xmlns:a16="http://schemas.microsoft.com/office/drawing/2014/main" id="{BE5BAE43-AF70-4219-B31B-58CAF3BA90BC}"/>
                </a:ext>
              </a:extLst>
            </p:cNvPr>
            <p:cNvCxnSpPr>
              <a:cxnSpLocks/>
            </p:cNvCxnSpPr>
            <p:nvPr/>
          </p:nvCxnSpPr>
          <p:spPr>
            <a:xfrm>
              <a:off x="6141004" y="3831525"/>
              <a:ext cx="0" cy="419746"/>
            </a:xfrm>
            <a:prstGeom prst="line">
              <a:avLst/>
            </a:prstGeom>
            <a:ln w="12700" cap="sq">
              <a:solidFill>
                <a:schemeClr val="bg1">
                  <a:lumMod val="85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6" name="îṥḻïḓè">
              <a:extLst>
                <a:ext uri="{FF2B5EF4-FFF2-40B4-BE49-F238E27FC236}">
                  <a16:creationId xmlns:a16="http://schemas.microsoft.com/office/drawing/2014/main" id="{4FCDCE75-9AD0-4064-A08B-5C4747B8EF10}"/>
                </a:ext>
              </a:extLst>
            </p:cNvPr>
            <p:cNvSpPr/>
            <p:nvPr/>
          </p:nvSpPr>
          <p:spPr>
            <a:xfrm>
              <a:off x="5722286" y="1117205"/>
              <a:ext cx="841590" cy="841590"/>
            </a:xfrm>
            <a:prstGeom prst="ellipse">
              <a:avLst/>
            </a:prstGeom>
            <a:solidFill>
              <a:schemeClr val="accent1"/>
            </a:solidFill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sz="1400" b="1" kern="0">
                <a:solidFill>
                  <a:schemeClr val="tx2"/>
                </a:solidFill>
              </a:endParaRPr>
            </a:p>
          </p:txBody>
        </p:sp>
        <p:sp>
          <p:nvSpPr>
            <p:cNvPr id="267" name="íšlîḓe">
              <a:extLst>
                <a:ext uri="{FF2B5EF4-FFF2-40B4-BE49-F238E27FC236}">
                  <a16:creationId xmlns:a16="http://schemas.microsoft.com/office/drawing/2014/main" id="{69F5B991-A306-4FAD-989B-FF4F9C64DA5D}"/>
                </a:ext>
              </a:extLst>
            </p:cNvPr>
            <p:cNvSpPr/>
            <p:nvPr/>
          </p:nvSpPr>
          <p:spPr bwMode="auto">
            <a:xfrm>
              <a:off x="5954866" y="1380437"/>
              <a:ext cx="376431" cy="315127"/>
            </a:xfrm>
            <a:custGeom>
              <a:avLst/>
              <a:gdLst>
                <a:gd name="T0" fmla="*/ 203 w 222"/>
                <a:gd name="T1" fmla="*/ 56 h 184"/>
                <a:gd name="T2" fmla="*/ 222 w 222"/>
                <a:gd name="T3" fmla="*/ 75 h 184"/>
                <a:gd name="T4" fmla="*/ 221 w 222"/>
                <a:gd name="T5" fmla="*/ 76 h 184"/>
                <a:gd name="T6" fmla="*/ 216 w 222"/>
                <a:gd name="T7" fmla="*/ 149 h 184"/>
                <a:gd name="T8" fmla="*/ 204 w 222"/>
                <a:gd name="T9" fmla="*/ 160 h 184"/>
                <a:gd name="T10" fmla="*/ 191 w 222"/>
                <a:gd name="T11" fmla="*/ 160 h 184"/>
                <a:gd name="T12" fmla="*/ 191 w 222"/>
                <a:gd name="T13" fmla="*/ 184 h 184"/>
                <a:gd name="T14" fmla="*/ 183 w 222"/>
                <a:gd name="T15" fmla="*/ 184 h 184"/>
                <a:gd name="T16" fmla="*/ 183 w 222"/>
                <a:gd name="T17" fmla="*/ 160 h 184"/>
                <a:gd name="T18" fmla="*/ 39 w 222"/>
                <a:gd name="T19" fmla="*/ 160 h 184"/>
                <a:gd name="T20" fmla="*/ 39 w 222"/>
                <a:gd name="T21" fmla="*/ 184 h 184"/>
                <a:gd name="T22" fmla="*/ 31 w 222"/>
                <a:gd name="T23" fmla="*/ 184 h 184"/>
                <a:gd name="T24" fmla="*/ 31 w 222"/>
                <a:gd name="T25" fmla="*/ 160 h 184"/>
                <a:gd name="T26" fmla="*/ 18 w 222"/>
                <a:gd name="T27" fmla="*/ 160 h 184"/>
                <a:gd name="T28" fmla="*/ 6 w 222"/>
                <a:gd name="T29" fmla="*/ 149 h 184"/>
                <a:gd name="T30" fmla="*/ 1 w 222"/>
                <a:gd name="T31" fmla="*/ 76 h 184"/>
                <a:gd name="T32" fmla="*/ 18 w 222"/>
                <a:gd name="T33" fmla="*/ 56 h 184"/>
                <a:gd name="T34" fmla="*/ 19 w 222"/>
                <a:gd name="T35" fmla="*/ 56 h 184"/>
                <a:gd name="T36" fmla="*/ 43 w 222"/>
                <a:gd name="T37" fmla="*/ 76 h 184"/>
                <a:gd name="T38" fmla="*/ 51 w 222"/>
                <a:gd name="T39" fmla="*/ 120 h 184"/>
                <a:gd name="T40" fmla="*/ 171 w 222"/>
                <a:gd name="T41" fmla="*/ 120 h 184"/>
                <a:gd name="T42" fmla="*/ 179 w 222"/>
                <a:gd name="T43" fmla="*/ 76 h 184"/>
                <a:gd name="T44" fmla="*/ 203 w 222"/>
                <a:gd name="T45" fmla="*/ 56 h 184"/>
                <a:gd name="T46" fmla="*/ 175 w 222"/>
                <a:gd name="T47" fmla="*/ 0 h 184"/>
                <a:gd name="T48" fmla="*/ 203 w 222"/>
                <a:gd name="T49" fmla="*/ 28 h 184"/>
                <a:gd name="T50" fmla="*/ 203 w 222"/>
                <a:gd name="T51" fmla="*/ 48 h 184"/>
                <a:gd name="T52" fmla="*/ 200 w 222"/>
                <a:gd name="T53" fmla="*/ 48 h 184"/>
                <a:gd name="T54" fmla="*/ 173 w 222"/>
                <a:gd name="T55" fmla="*/ 70 h 184"/>
                <a:gd name="T56" fmla="*/ 173 w 222"/>
                <a:gd name="T57" fmla="*/ 71 h 184"/>
                <a:gd name="T58" fmla="*/ 165 w 222"/>
                <a:gd name="T59" fmla="*/ 112 h 184"/>
                <a:gd name="T60" fmla="*/ 57 w 222"/>
                <a:gd name="T61" fmla="*/ 112 h 184"/>
                <a:gd name="T62" fmla="*/ 49 w 222"/>
                <a:gd name="T63" fmla="*/ 71 h 184"/>
                <a:gd name="T64" fmla="*/ 22 w 222"/>
                <a:gd name="T65" fmla="*/ 48 h 184"/>
                <a:gd name="T66" fmla="*/ 23 w 222"/>
                <a:gd name="T67" fmla="*/ 28 h 184"/>
                <a:gd name="T68" fmla="*/ 51 w 222"/>
                <a:gd name="T69" fmla="*/ 0 h 184"/>
                <a:gd name="T70" fmla="*/ 175 w 222"/>
                <a:gd name="T71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2" h="184">
                  <a:moveTo>
                    <a:pt x="203" y="56"/>
                  </a:moveTo>
                  <a:cubicBezTo>
                    <a:pt x="213" y="56"/>
                    <a:pt x="222" y="64"/>
                    <a:pt x="222" y="75"/>
                  </a:cubicBezTo>
                  <a:cubicBezTo>
                    <a:pt x="222" y="75"/>
                    <a:pt x="222" y="75"/>
                    <a:pt x="221" y="76"/>
                  </a:cubicBezTo>
                  <a:cubicBezTo>
                    <a:pt x="216" y="149"/>
                    <a:pt x="216" y="149"/>
                    <a:pt x="216" y="149"/>
                  </a:cubicBezTo>
                  <a:cubicBezTo>
                    <a:pt x="215" y="155"/>
                    <a:pt x="210" y="160"/>
                    <a:pt x="204" y="160"/>
                  </a:cubicBezTo>
                  <a:cubicBezTo>
                    <a:pt x="191" y="160"/>
                    <a:pt x="191" y="160"/>
                    <a:pt x="191" y="160"/>
                  </a:cubicBezTo>
                  <a:cubicBezTo>
                    <a:pt x="191" y="184"/>
                    <a:pt x="191" y="184"/>
                    <a:pt x="191" y="184"/>
                  </a:cubicBezTo>
                  <a:cubicBezTo>
                    <a:pt x="183" y="184"/>
                    <a:pt x="183" y="184"/>
                    <a:pt x="183" y="184"/>
                  </a:cubicBezTo>
                  <a:cubicBezTo>
                    <a:pt x="183" y="160"/>
                    <a:pt x="183" y="160"/>
                    <a:pt x="183" y="160"/>
                  </a:cubicBezTo>
                  <a:cubicBezTo>
                    <a:pt x="39" y="160"/>
                    <a:pt x="39" y="160"/>
                    <a:pt x="39" y="160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18" y="160"/>
                    <a:pt x="18" y="160"/>
                    <a:pt x="18" y="160"/>
                  </a:cubicBezTo>
                  <a:cubicBezTo>
                    <a:pt x="12" y="160"/>
                    <a:pt x="7" y="155"/>
                    <a:pt x="6" y="149"/>
                  </a:cubicBezTo>
                  <a:cubicBezTo>
                    <a:pt x="1" y="76"/>
                    <a:pt x="1" y="76"/>
                    <a:pt x="1" y="76"/>
                  </a:cubicBezTo>
                  <a:cubicBezTo>
                    <a:pt x="0" y="66"/>
                    <a:pt x="7" y="57"/>
                    <a:pt x="18" y="56"/>
                  </a:cubicBezTo>
                  <a:cubicBezTo>
                    <a:pt x="18" y="56"/>
                    <a:pt x="19" y="56"/>
                    <a:pt x="19" y="56"/>
                  </a:cubicBezTo>
                  <a:cubicBezTo>
                    <a:pt x="31" y="56"/>
                    <a:pt x="41" y="64"/>
                    <a:pt x="43" y="76"/>
                  </a:cubicBezTo>
                  <a:cubicBezTo>
                    <a:pt x="51" y="120"/>
                    <a:pt x="51" y="120"/>
                    <a:pt x="51" y="120"/>
                  </a:cubicBezTo>
                  <a:cubicBezTo>
                    <a:pt x="171" y="120"/>
                    <a:pt x="171" y="120"/>
                    <a:pt x="171" y="120"/>
                  </a:cubicBezTo>
                  <a:cubicBezTo>
                    <a:pt x="179" y="76"/>
                    <a:pt x="179" y="76"/>
                    <a:pt x="179" y="76"/>
                  </a:cubicBezTo>
                  <a:cubicBezTo>
                    <a:pt x="181" y="64"/>
                    <a:pt x="191" y="56"/>
                    <a:pt x="203" y="56"/>
                  </a:cubicBezTo>
                  <a:close/>
                  <a:moveTo>
                    <a:pt x="175" y="0"/>
                  </a:moveTo>
                  <a:cubicBezTo>
                    <a:pt x="190" y="0"/>
                    <a:pt x="203" y="13"/>
                    <a:pt x="203" y="28"/>
                  </a:cubicBezTo>
                  <a:cubicBezTo>
                    <a:pt x="203" y="48"/>
                    <a:pt x="203" y="48"/>
                    <a:pt x="203" y="48"/>
                  </a:cubicBezTo>
                  <a:cubicBezTo>
                    <a:pt x="202" y="48"/>
                    <a:pt x="201" y="48"/>
                    <a:pt x="200" y="48"/>
                  </a:cubicBezTo>
                  <a:cubicBezTo>
                    <a:pt x="187" y="48"/>
                    <a:pt x="176" y="57"/>
                    <a:pt x="173" y="70"/>
                  </a:cubicBezTo>
                  <a:cubicBezTo>
                    <a:pt x="173" y="71"/>
                    <a:pt x="173" y="71"/>
                    <a:pt x="173" y="71"/>
                  </a:cubicBezTo>
                  <a:cubicBezTo>
                    <a:pt x="165" y="112"/>
                    <a:pt x="165" y="112"/>
                    <a:pt x="165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7" y="57"/>
                    <a:pt x="35" y="48"/>
                    <a:pt x="22" y="4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13"/>
                    <a:pt x="36" y="0"/>
                    <a:pt x="51" y="0"/>
                  </a:cubicBezTo>
                  <a:lnTo>
                    <a:pt x="17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68" name="iSḻîḑe">
              <a:extLst>
                <a:ext uri="{FF2B5EF4-FFF2-40B4-BE49-F238E27FC236}">
                  <a16:creationId xmlns:a16="http://schemas.microsoft.com/office/drawing/2014/main" id="{3C12F2FD-64CE-4AD4-A0E6-6771F5076931}"/>
                </a:ext>
              </a:extLst>
            </p:cNvPr>
            <p:cNvSpPr/>
            <p:nvPr/>
          </p:nvSpPr>
          <p:spPr>
            <a:xfrm>
              <a:off x="2126233" y="5277646"/>
              <a:ext cx="1570376" cy="397472"/>
            </a:xfrm>
            <a:prstGeom prst="roundRect">
              <a:avLst>
                <a:gd name="adj" fmla="val 856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Text </a:t>
              </a:r>
              <a:r>
                <a:rPr lang="en-US" altLang="zh-CN" sz="1200" dirty="0">
                  <a:solidFill>
                    <a:schemeClr val="tx1"/>
                  </a:solidFill>
                </a:rPr>
                <a:t>Here</a:t>
              </a:r>
              <a:br>
                <a:rPr lang="zh-CN" altLang="en-US" sz="1200" dirty="0">
                  <a:solidFill>
                    <a:schemeClr val="tx1"/>
                  </a:solidFill>
                </a:rPr>
              </a:b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69" name="iśḻíďé">
              <a:extLst>
                <a:ext uri="{FF2B5EF4-FFF2-40B4-BE49-F238E27FC236}">
                  <a16:creationId xmlns:a16="http://schemas.microsoft.com/office/drawing/2014/main" id="{5E631AD1-2BDB-4EF9-9B76-3774E93A8079}"/>
                </a:ext>
              </a:extLst>
            </p:cNvPr>
            <p:cNvSpPr/>
            <p:nvPr/>
          </p:nvSpPr>
          <p:spPr>
            <a:xfrm>
              <a:off x="2557631" y="4395064"/>
              <a:ext cx="758866" cy="758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70" name="ïsḻïḓe">
              <a:extLst>
                <a:ext uri="{FF2B5EF4-FFF2-40B4-BE49-F238E27FC236}">
                  <a16:creationId xmlns:a16="http://schemas.microsoft.com/office/drawing/2014/main" id="{C82B6E65-B13E-40E7-9A69-48EF29B214BE}"/>
                </a:ext>
              </a:extLst>
            </p:cNvPr>
            <p:cNvSpPr/>
            <p:nvPr/>
          </p:nvSpPr>
          <p:spPr bwMode="auto">
            <a:xfrm>
              <a:off x="2782740" y="4612217"/>
              <a:ext cx="284575" cy="348140"/>
            </a:xfrm>
            <a:custGeom>
              <a:avLst/>
              <a:gdLst>
                <a:gd name="T0" fmla="*/ 119 w 184"/>
                <a:gd name="T1" fmla="*/ 0 h 224"/>
                <a:gd name="T2" fmla="*/ 120 w 184"/>
                <a:gd name="T3" fmla="*/ 0 h 224"/>
                <a:gd name="T4" fmla="*/ 120 w 184"/>
                <a:gd name="T5" fmla="*/ 52 h 224"/>
                <a:gd name="T6" fmla="*/ 120 w 184"/>
                <a:gd name="T7" fmla="*/ 53 h 224"/>
                <a:gd name="T8" fmla="*/ 132 w 184"/>
                <a:gd name="T9" fmla="*/ 64 h 224"/>
                <a:gd name="T10" fmla="*/ 184 w 184"/>
                <a:gd name="T11" fmla="*/ 64 h 224"/>
                <a:gd name="T12" fmla="*/ 184 w 184"/>
                <a:gd name="T13" fmla="*/ 65 h 224"/>
                <a:gd name="T14" fmla="*/ 184 w 184"/>
                <a:gd name="T15" fmla="*/ 212 h 224"/>
                <a:gd name="T16" fmla="*/ 172 w 184"/>
                <a:gd name="T17" fmla="*/ 224 h 224"/>
                <a:gd name="T18" fmla="*/ 12 w 184"/>
                <a:gd name="T19" fmla="*/ 224 h 224"/>
                <a:gd name="T20" fmla="*/ 0 w 184"/>
                <a:gd name="T21" fmla="*/ 212 h 224"/>
                <a:gd name="T22" fmla="*/ 0 w 184"/>
                <a:gd name="T23" fmla="*/ 12 h 224"/>
                <a:gd name="T24" fmla="*/ 12 w 184"/>
                <a:gd name="T25" fmla="*/ 0 h 224"/>
                <a:gd name="T26" fmla="*/ 119 w 184"/>
                <a:gd name="T27" fmla="*/ 0 h 224"/>
                <a:gd name="T28" fmla="*/ 104 w 184"/>
                <a:gd name="T29" fmla="*/ 84 h 224"/>
                <a:gd name="T30" fmla="*/ 64 w 184"/>
                <a:gd name="T31" fmla="*/ 84 h 224"/>
                <a:gd name="T32" fmla="*/ 64 w 184"/>
                <a:gd name="T33" fmla="*/ 172 h 224"/>
                <a:gd name="T34" fmla="*/ 72 w 184"/>
                <a:gd name="T35" fmla="*/ 172 h 224"/>
                <a:gd name="T36" fmla="*/ 72 w 184"/>
                <a:gd name="T37" fmla="*/ 132 h 224"/>
                <a:gd name="T38" fmla="*/ 104 w 184"/>
                <a:gd name="T39" fmla="*/ 132 h 224"/>
                <a:gd name="T40" fmla="*/ 105 w 184"/>
                <a:gd name="T41" fmla="*/ 132 h 224"/>
                <a:gd name="T42" fmla="*/ 128 w 184"/>
                <a:gd name="T43" fmla="*/ 108 h 224"/>
                <a:gd name="T44" fmla="*/ 104 w 184"/>
                <a:gd name="T45" fmla="*/ 84 h 224"/>
                <a:gd name="T46" fmla="*/ 104 w 184"/>
                <a:gd name="T47" fmla="*/ 92 h 224"/>
                <a:gd name="T48" fmla="*/ 120 w 184"/>
                <a:gd name="T49" fmla="*/ 108 h 224"/>
                <a:gd name="T50" fmla="*/ 104 w 184"/>
                <a:gd name="T51" fmla="*/ 124 h 224"/>
                <a:gd name="T52" fmla="*/ 72 w 184"/>
                <a:gd name="T53" fmla="*/ 124 h 224"/>
                <a:gd name="T54" fmla="*/ 72 w 184"/>
                <a:gd name="T55" fmla="*/ 92 h 224"/>
                <a:gd name="T56" fmla="*/ 104 w 184"/>
                <a:gd name="T57" fmla="*/ 92 h 224"/>
                <a:gd name="T58" fmla="*/ 180 w 184"/>
                <a:gd name="T59" fmla="*/ 56 h 224"/>
                <a:gd name="T60" fmla="*/ 132 w 184"/>
                <a:gd name="T61" fmla="*/ 56 h 224"/>
                <a:gd name="T62" fmla="*/ 132 w 184"/>
                <a:gd name="T63" fmla="*/ 56 h 224"/>
                <a:gd name="T64" fmla="*/ 128 w 184"/>
                <a:gd name="T65" fmla="*/ 52 h 224"/>
                <a:gd name="T66" fmla="*/ 128 w 184"/>
                <a:gd name="T67" fmla="*/ 4 h 224"/>
                <a:gd name="T68" fmla="*/ 180 w 184"/>
                <a:gd name="T69" fmla="*/ 5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" h="224">
                  <a:moveTo>
                    <a:pt x="119" y="0"/>
                  </a:moveTo>
                  <a:cubicBezTo>
                    <a:pt x="120" y="0"/>
                    <a:pt x="120" y="0"/>
                    <a:pt x="120" y="0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0" y="59"/>
                    <a:pt x="126" y="64"/>
                    <a:pt x="132" y="64"/>
                  </a:cubicBezTo>
                  <a:cubicBezTo>
                    <a:pt x="184" y="64"/>
                    <a:pt x="184" y="64"/>
                    <a:pt x="184" y="64"/>
                  </a:cubicBezTo>
                  <a:cubicBezTo>
                    <a:pt x="184" y="65"/>
                    <a:pt x="184" y="65"/>
                    <a:pt x="184" y="65"/>
                  </a:cubicBezTo>
                  <a:cubicBezTo>
                    <a:pt x="184" y="212"/>
                    <a:pt x="184" y="212"/>
                    <a:pt x="184" y="212"/>
                  </a:cubicBezTo>
                  <a:cubicBezTo>
                    <a:pt x="184" y="219"/>
                    <a:pt x="179" y="224"/>
                    <a:pt x="172" y="224"/>
                  </a:cubicBezTo>
                  <a:cubicBezTo>
                    <a:pt x="12" y="224"/>
                    <a:pt x="12" y="224"/>
                    <a:pt x="12" y="224"/>
                  </a:cubicBezTo>
                  <a:cubicBezTo>
                    <a:pt x="5" y="224"/>
                    <a:pt x="0" y="219"/>
                    <a:pt x="0" y="2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lnTo>
                    <a:pt x="119" y="0"/>
                  </a:lnTo>
                  <a:close/>
                  <a:moveTo>
                    <a:pt x="104" y="84"/>
                  </a:moveTo>
                  <a:cubicBezTo>
                    <a:pt x="64" y="84"/>
                    <a:pt x="64" y="84"/>
                    <a:pt x="64" y="84"/>
                  </a:cubicBezTo>
                  <a:cubicBezTo>
                    <a:pt x="64" y="172"/>
                    <a:pt x="64" y="172"/>
                    <a:pt x="64" y="172"/>
                  </a:cubicBezTo>
                  <a:cubicBezTo>
                    <a:pt x="72" y="172"/>
                    <a:pt x="72" y="172"/>
                    <a:pt x="72" y="17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5" y="132"/>
                    <a:pt x="105" y="132"/>
                    <a:pt x="105" y="132"/>
                  </a:cubicBezTo>
                  <a:cubicBezTo>
                    <a:pt x="118" y="132"/>
                    <a:pt x="128" y="121"/>
                    <a:pt x="128" y="108"/>
                  </a:cubicBezTo>
                  <a:cubicBezTo>
                    <a:pt x="128" y="95"/>
                    <a:pt x="117" y="84"/>
                    <a:pt x="104" y="84"/>
                  </a:cubicBezTo>
                  <a:close/>
                  <a:moveTo>
                    <a:pt x="104" y="92"/>
                  </a:moveTo>
                  <a:cubicBezTo>
                    <a:pt x="113" y="92"/>
                    <a:pt x="120" y="99"/>
                    <a:pt x="120" y="108"/>
                  </a:cubicBezTo>
                  <a:cubicBezTo>
                    <a:pt x="120" y="117"/>
                    <a:pt x="113" y="124"/>
                    <a:pt x="104" y="124"/>
                  </a:cubicBezTo>
                  <a:cubicBezTo>
                    <a:pt x="72" y="124"/>
                    <a:pt x="72" y="124"/>
                    <a:pt x="72" y="124"/>
                  </a:cubicBezTo>
                  <a:cubicBezTo>
                    <a:pt x="72" y="92"/>
                    <a:pt x="72" y="92"/>
                    <a:pt x="72" y="92"/>
                  </a:cubicBezTo>
                  <a:lnTo>
                    <a:pt x="104" y="92"/>
                  </a:lnTo>
                  <a:close/>
                  <a:moveTo>
                    <a:pt x="180" y="56"/>
                  </a:moveTo>
                  <a:cubicBezTo>
                    <a:pt x="132" y="56"/>
                    <a:pt x="132" y="56"/>
                    <a:pt x="132" y="56"/>
                  </a:cubicBezTo>
                  <a:cubicBezTo>
                    <a:pt x="132" y="56"/>
                    <a:pt x="132" y="56"/>
                    <a:pt x="132" y="56"/>
                  </a:cubicBezTo>
                  <a:cubicBezTo>
                    <a:pt x="130" y="56"/>
                    <a:pt x="128" y="54"/>
                    <a:pt x="128" y="52"/>
                  </a:cubicBezTo>
                  <a:cubicBezTo>
                    <a:pt x="128" y="4"/>
                    <a:pt x="128" y="4"/>
                    <a:pt x="128" y="4"/>
                  </a:cubicBezTo>
                  <a:lnTo>
                    <a:pt x="180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71" name="îsḷiḑé">
              <a:extLst>
                <a:ext uri="{FF2B5EF4-FFF2-40B4-BE49-F238E27FC236}">
                  <a16:creationId xmlns:a16="http://schemas.microsoft.com/office/drawing/2014/main" id="{F549D3D7-CFC4-479E-94EC-C440149DDE2F}"/>
                </a:ext>
              </a:extLst>
            </p:cNvPr>
            <p:cNvSpPr/>
            <p:nvPr/>
          </p:nvSpPr>
          <p:spPr bwMode="auto">
            <a:xfrm>
              <a:off x="2724979" y="2866317"/>
              <a:ext cx="348140" cy="280559"/>
            </a:xfrm>
            <a:custGeom>
              <a:avLst/>
              <a:gdLst>
                <a:gd name="T0" fmla="*/ 204 w 216"/>
                <a:gd name="T1" fmla="*/ 0 h 172"/>
                <a:gd name="T2" fmla="*/ 216 w 216"/>
                <a:gd name="T3" fmla="*/ 12 h 172"/>
                <a:gd name="T4" fmla="*/ 216 w 216"/>
                <a:gd name="T5" fmla="*/ 136 h 172"/>
                <a:gd name="T6" fmla="*/ 204 w 216"/>
                <a:gd name="T7" fmla="*/ 148 h 172"/>
                <a:gd name="T8" fmla="*/ 80 w 216"/>
                <a:gd name="T9" fmla="*/ 148 h 172"/>
                <a:gd name="T10" fmla="*/ 48 w 216"/>
                <a:gd name="T11" fmla="*/ 172 h 172"/>
                <a:gd name="T12" fmla="*/ 48 w 216"/>
                <a:gd name="T13" fmla="*/ 148 h 172"/>
                <a:gd name="T14" fmla="*/ 12 w 216"/>
                <a:gd name="T15" fmla="*/ 148 h 172"/>
                <a:gd name="T16" fmla="*/ 0 w 216"/>
                <a:gd name="T17" fmla="*/ 136 h 172"/>
                <a:gd name="T18" fmla="*/ 0 w 216"/>
                <a:gd name="T19" fmla="*/ 12 h 172"/>
                <a:gd name="T20" fmla="*/ 12 w 216"/>
                <a:gd name="T21" fmla="*/ 0 h 172"/>
                <a:gd name="T22" fmla="*/ 204 w 216"/>
                <a:gd name="T23" fmla="*/ 0 h 172"/>
                <a:gd name="T24" fmla="*/ 52 w 216"/>
                <a:gd name="T25" fmla="*/ 60 h 172"/>
                <a:gd name="T26" fmla="*/ 38 w 216"/>
                <a:gd name="T27" fmla="*/ 74 h 172"/>
                <a:gd name="T28" fmla="*/ 52 w 216"/>
                <a:gd name="T29" fmla="*/ 88 h 172"/>
                <a:gd name="T30" fmla="*/ 66 w 216"/>
                <a:gd name="T31" fmla="*/ 74 h 172"/>
                <a:gd name="T32" fmla="*/ 52 w 216"/>
                <a:gd name="T33" fmla="*/ 60 h 172"/>
                <a:gd name="T34" fmla="*/ 108 w 216"/>
                <a:gd name="T35" fmla="*/ 60 h 172"/>
                <a:gd name="T36" fmla="*/ 94 w 216"/>
                <a:gd name="T37" fmla="*/ 74 h 172"/>
                <a:gd name="T38" fmla="*/ 108 w 216"/>
                <a:gd name="T39" fmla="*/ 88 h 172"/>
                <a:gd name="T40" fmla="*/ 122 w 216"/>
                <a:gd name="T41" fmla="*/ 74 h 172"/>
                <a:gd name="T42" fmla="*/ 108 w 216"/>
                <a:gd name="T43" fmla="*/ 60 h 172"/>
                <a:gd name="T44" fmla="*/ 164 w 216"/>
                <a:gd name="T45" fmla="*/ 60 h 172"/>
                <a:gd name="T46" fmla="*/ 150 w 216"/>
                <a:gd name="T47" fmla="*/ 74 h 172"/>
                <a:gd name="T48" fmla="*/ 164 w 216"/>
                <a:gd name="T49" fmla="*/ 88 h 172"/>
                <a:gd name="T50" fmla="*/ 178 w 216"/>
                <a:gd name="T51" fmla="*/ 74 h 172"/>
                <a:gd name="T52" fmla="*/ 164 w 216"/>
                <a:gd name="T53" fmla="*/ 6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" h="172">
                  <a:moveTo>
                    <a:pt x="204" y="0"/>
                  </a:moveTo>
                  <a:cubicBezTo>
                    <a:pt x="211" y="0"/>
                    <a:pt x="216" y="5"/>
                    <a:pt x="216" y="12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6" y="143"/>
                    <a:pt x="211" y="148"/>
                    <a:pt x="204" y="148"/>
                  </a:cubicBezTo>
                  <a:cubicBezTo>
                    <a:pt x="80" y="148"/>
                    <a:pt x="80" y="148"/>
                    <a:pt x="80" y="148"/>
                  </a:cubicBezTo>
                  <a:cubicBezTo>
                    <a:pt x="48" y="172"/>
                    <a:pt x="48" y="172"/>
                    <a:pt x="48" y="172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12" y="148"/>
                    <a:pt x="12" y="148"/>
                    <a:pt x="12" y="148"/>
                  </a:cubicBezTo>
                  <a:cubicBezTo>
                    <a:pt x="5" y="148"/>
                    <a:pt x="0" y="143"/>
                    <a:pt x="0" y="13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lnTo>
                    <a:pt x="204" y="0"/>
                  </a:lnTo>
                  <a:close/>
                  <a:moveTo>
                    <a:pt x="52" y="60"/>
                  </a:moveTo>
                  <a:cubicBezTo>
                    <a:pt x="44" y="60"/>
                    <a:pt x="38" y="66"/>
                    <a:pt x="38" y="74"/>
                  </a:cubicBezTo>
                  <a:cubicBezTo>
                    <a:pt x="38" y="82"/>
                    <a:pt x="44" y="88"/>
                    <a:pt x="52" y="88"/>
                  </a:cubicBezTo>
                  <a:cubicBezTo>
                    <a:pt x="60" y="88"/>
                    <a:pt x="66" y="82"/>
                    <a:pt x="66" y="74"/>
                  </a:cubicBezTo>
                  <a:cubicBezTo>
                    <a:pt x="66" y="66"/>
                    <a:pt x="60" y="60"/>
                    <a:pt x="52" y="60"/>
                  </a:cubicBezTo>
                  <a:close/>
                  <a:moveTo>
                    <a:pt x="108" y="60"/>
                  </a:moveTo>
                  <a:cubicBezTo>
                    <a:pt x="100" y="60"/>
                    <a:pt x="94" y="66"/>
                    <a:pt x="94" y="74"/>
                  </a:cubicBezTo>
                  <a:cubicBezTo>
                    <a:pt x="94" y="82"/>
                    <a:pt x="100" y="88"/>
                    <a:pt x="108" y="88"/>
                  </a:cubicBezTo>
                  <a:cubicBezTo>
                    <a:pt x="116" y="88"/>
                    <a:pt x="122" y="82"/>
                    <a:pt x="122" y="74"/>
                  </a:cubicBezTo>
                  <a:cubicBezTo>
                    <a:pt x="122" y="66"/>
                    <a:pt x="116" y="60"/>
                    <a:pt x="108" y="60"/>
                  </a:cubicBezTo>
                  <a:close/>
                  <a:moveTo>
                    <a:pt x="164" y="60"/>
                  </a:moveTo>
                  <a:cubicBezTo>
                    <a:pt x="156" y="60"/>
                    <a:pt x="150" y="66"/>
                    <a:pt x="150" y="74"/>
                  </a:cubicBezTo>
                  <a:cubicBezTo>
                    <a:pt x="150" y="82"/>
                    <a:pt x="156" y="88"/>
                    <a:pt x="164" y="88"/>
                  </a:cubicBezTo>
                  <a:cubicBezTo>
                    <a:pt x="172" y="88"/>
                    <a:pt x="178" y="82"/>
                    <a:pt x="178" y="74"/>
                  </a:cubicBezTo>
                  <a:cubicBezTo>
                    <a:pt x="178" y="66"/>
                    <a:pt x="172" y="60"/>
                    <a:pt x="164" y="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72" name="iŝlîḋe">
              <a:extLst>
                <a:ext uri="{FF2B5EF4-FFF2-40B4-BE49-F238E27FC236}">
                  <a16:creationId xmlns:a16="http://schemas.microsoft.com/office/drawing/2014/main" id="{AD0E18DB-8644-4B5B-9669-D3B30BC8B82A}"/>
                </a:ext>
              </a:extLst>
            </p:cNvPr>
            <p:cNvSpPr/>
            <p:nvPr/>
          </p:nvSpPr>
          <p:spPr bwMode="auto">
            <a:xfrm>
              <a:off x="5954192" y="2874813"/>
              <a:ext cx="348140" cy="263563"/>
            </a:xfrm>
            <a:custGeom>
              <a:avLst/>
              <a:gdLst>
                <a:gd name="T0" fmla="*/ 212 w 224"/>
                <a:gd name="T1" fmla="*/ 0 h 168"/>
                <a:gd name="T2" fmla="*/ 224 w 224"/>
                <a:gd name="T3" fmla="*/ 12 h 168"/>
                <a:gd name="T4" fmla="*/ 224 w 224"/>
                <a:gd name="T5" fmla="*/ 156 h 168"/>
                <a:gd name="T6" fmla="*/ 212 w 224"/>
                <a:gd name="T7" fmla="*/ 168 h 168"/>
                <a:gd name="T8" fmla="*/ 12 w 224"/>
                <a:gd name="T9" fmla="*/ 168 h 168"/>
                <a:gd name="T10" fmla="*/ 0 w 224"/>
                <a:gd name="T11" fmla="*/ 156 h 168"/>
                <a:gd name="T12" fmla="*/ 0 w 224"/>
                <a:gd name="T13" fmla="*/ 12 h 168"/>
                <a:gd name="T14" fmla="*/ 12 w 224"/>
                <a:gd name="T15" fmla="*/ 0 h 168"/>
                <a:gd name="T16" fmla="*/ 212 w 224"/>
                <a:gd name="T17" fmla="*/ 0 h 168"/>
                <a:gd name="T18" fmla="*/ 164 w 224"/>
                <a:gd name="T19" fmla="*/ 83 h 168"/>
                <a:gd name="T20" fmla="*/ 147 w 224"/>
                <a:gd name="T21" fmla="*/ 85 h 168"/>
                <a:gd name="T22" fmla="*/ 112 w 224"/>
                <a:gd name="T23" fmla="*/ 132 h 168"/>
                <a:gd name="T24" fmla="*/ 111 w 224"/>
                <a:gd name="T25" fmla="*/ 133 h 168"/>
                <a:gd name="T26" fmla="*/ 94 w 224"/>
                <a:gd name="T27" fmla="*/ 134 h 168"/>
                <a:gd name="T28" fmla="*/ 68 w 224"/>
                <a:gd name="T29" fmla="*/ 108 h 168"/>
                <a:gd name="T30" fmla="*/ 67 w 224"/>
                <a:gd name="T31" fmla="*/ 107 h 168"/>
                <a:gd name="T32" fmla="*/ 50 w 224"/>
                <a:gd name="T33" fmla="*/ 109 h 168"/>
                <a:gd name="T34" fmla="*/ 13 w 224"/>
                <a:gd name="T35" fmla="*/ 153 h 168"/>
                <a:gd name="T36" fmla="*/ 12 w 224"/>
                <a:gd name="T37" fmla="*/ 156 h 168"/>
                <a:gd name="T38" fmla="*/ 16 w 224"/>
                <a:gd name="T39" fmla="*/ 160 h 168"/>
                <a:gd name="T40" fmla="*/ 209 w 224"/>
                <a:gd name="T41" fmla="*/ 160 h 168"/>
                <a:gd name="T42" fmla="*/ 211 w 224"/>
                <a:gd name="T43" fmla="*/ 159 h 168"/>
                <a:gd name="T44" fmla="*/ 212 w 224"/>
                <a:gd name="T45" fmla="*/ 154 h 168"/>
                <a:gd name="T46" fmla="*/ 167 w 224"/>
                <a:gd name="T47" fmla="*/ 86 h 168"/>
                <a:gd name="T48" fmla="*/ 164 w 224"/>
                <a:gd name="T49" fmla="*/ 83 h 168"/>
                <a:gd name="T50" fmla="*/ 40 w 224"/>
                <a:gd name="T51" fmla="*/ 24 h 168"/>
                <a:gd name="T52" fmla="*/ 24 w 224"/>
                <a:gd name="T53" fmla="*/ 40 h 168"/>
                <a:gd name="T54" fmla="*/ 40 w 224"/>
                <a:gd name="T55" fmla="*/ 56 h 168"/>
                <a:gd name="T56" fmla="*/ 56 w 224"/>
                <a:gd name="T57" fmla="*/ 40 h 168"/>
                <a:gd name="T58" fmla="*/ 40 w 224"/>
                <a:gd name="T59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4" h="168">
                  <a:moveTo>
                    <a:pt x="212" y="0"/>
                  </a:moveTo>
                  <a:cubicBezTo>
                    <a:pt x="219" y="0"/>
                    <a:pt x="224" y="5"/>
                    <a:pt x="224" y="12"/>
                  </a:cubicBezTo>
                  <a:cubicBezTo>
                    <a:pt x="224" y="156"/>
                    <a:pt x="224" y="156"/>
                    <a:pt x="224" y="156"/>
                  </a:cubicBezTo>
                  <a:cubicBezTo>
                    <a:pt x="224" y="163"/>
                    <a:pt x="219" y="168"/>
                    <a:pt x="212" y="168"/>
                  </a:cubicBezTo>
                  <a:cubicBezTo>
                    <a:pt x="12" y="168"/>
                    <a:pt x="12" y="168"/>
                    <a:pt x="12" y="168"/>
                  </a:cubicBezTo>
                  <a:cubicBezTo>
                    <a:pt x="5" y="168"/>
                    <a:pt x="0" y="163"/>
                    <a:pt x="0" y="15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lnTo>
                    <a:pt x="212" y="0"/>
                  </a:lnTo>
                  <a:close/>
                  <a:moveTo>
                    <a:pt x="164" y="83"/>
                  </a:moveTo>
                  <a:cubicBezTo>
                    <a:pt x="159" y="79"/>
                    <a:pt x="151" y="80"/>
                    <a:pt x="147" y="85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2" y="133"/>
                    <a:pt x="111" y="133"/>
                    <a:pt x="111" y="133"/>
                  </a:cubicBezTo>
                  <a:cubicBezTo>
                    <a:pt x="106" y="138"/>
                    <a:pt x="99" y="138"/>
                    <a:pt x="94" y="134"/>
                  </a:cubicBezTo>
                  <a:cubicBezTo>
                    <a:pt x="68" y="108"/>
                    <a:pt x="68" y="108"/>
                    <a:pt x="68" y="108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2" y="103"/>
                    <a:pt x="54" y="104"/>
                    <a:pt x="50" y="109"/>
                  </a:cubicBezTo>
                  <a:cubicBezTo>
                    <a:pt x="13" y="153"/>
                    <a:pt x="13" y="153"/>
                    <a:pt x="13" y="153"/>
                  </a:cubicBezTo>
                  <a:cubicBezTo>
                    <a:pt x="13" y="154"/>
                    <a:pt x="12" y="155"/>
                    <a:pt x="12" y="156"/>
                  </a:cubicBezTo>
                  <a:cubicBezTo>
                    <a:pt x="12" y="158"/>
                    <a:pt x="14" y="160"/>
                    <a:pt x="16" y="160"/>
                  </a:cubicBezTo>
                  <a:cubicBezTo>
                    <a:pt x="209" y="160"/>
                    <a:pt x="209" y="160"/>
                    <a:pt x="209" y="160"/>
                  </a:cubicBezTo>
                  <a:cubicBezTo>
                    <a:pt x="209" y="160"/>
                    <a:pt x="210" y="160"/>
                    <a:pt x="211" y="159"/>
                  </a:cubicBezTo>
                  <a:cubicBezTo>
                    <a:pt x="213" y="158"/>
                    <a:pt x="213" y="156"/>
                    <a:pt x="212" y="154"/>
                  </a:cubicBezTo>
                  <a:cubicBezTo>
                    <a:pt x="167" y="86"/>
                    <a:pt x="167" y="86"/>
                    <a:pt x="167" y="86"/>
                  </a:cubicBezTo>
                  <a:cubicBezTo>
                    <a:pt x="166" y="85"/>
                    <a:pt x="165" y="84"/>
                    <a:pt x="164" y="83"/>
                  </a:cubicBezTo>
                  <a:close/>
                  <a:moveTo>
                    <a:pt x="40" y="24"/>
                  </a:moveTo>
                  <a:cubicBezTo>
                    <a:pt x="31" y="24"/>
                    <a:pt x="24" y="31"/>
                    <a:pt x="24" y="40"/>
                  </a:cubicBezTo>
                  <a:cubicBezTo>
                    <a:pt x="24" y="49"/>
                    <a:pt x="31" y="56"/>
                    <a:pt x="40" y="56"/>
                  </a:cubicBezTo>
                  <a:cubicBezTo>
                    <a:pt x="49" y="56"/>
                    <a:pt x="56" y="49"/>
                    <a:pt x="56" y="40"/>
                  </a:cubicBezTo>
                  <a:cubicBezTo>
                    <a:pt x="56" y="31"/>
                    <a:pt x="49" y="24"/>
                    <a:pt x="40" y="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73" name="íṧlíďé">
              <a:extLst>
                <a:ext uri="{FF2B5EF4-FFF2-40B4-BE49-F238E27FC236}">
                  <a16:creationId xmlns:a16="http://schemas.microsoft.com/office/drawing/2014/main" id="{54B2ED6F-F6CA-4C2C-8C61-2B984AF3CDCF}"/>
                </a:ext>
              </a:extLst>
            </p:cNvPr>
            <p:cNvSpPr/>
            <p:nvPr/>
          </p:nvSpPr>
          <p:spPr bwMode="auto">
            <a:xfrm>
              <a:off x="9134508" y="2835766"/>
              <a:ext cx="348140" cy="344206"/>
            </a:xfrm>
            <a:custGeom>
              <a:avLst/>
              <a:gdLst>
                <a:gd name="T0" fmla="*/ 144 w 224"/>
                <a:gd name="T1" fmla="*/ 116 h 220"/>
                <a:gd name="T2" fmla="*/ 156 w 224"/>
                <a:gd name="T3" fmla="*/ 128 h 220"/>
                <a:gd name="T4" fmla="*/ 156 w 224"/>
                <a:gd name="T5" fmla="*/ 208 h 220"/>
                <a:gd name="T6" fmla="*/ 144 w 224"/>
                <a:gd name="T7" fmla="*/ 220 h 220"/>
                <a:gd name="T8" fmla="*/ 80 w 224"/>
                <a:gd name="T9" fmla="*/ 220 h 220"/>
                <a:gd name="T10" fmla="*/ 68 w 224"/>
                <a:gd name="T11" fmla="*/ 208 h 220"/>
                <a:gd name="T12" fmla="*/ 68 w 224"/>
                <a:gd name="T13" fmla="*/ 128 h 220"/>
                <a:gd name="T14" fmla="*/ 80 w 224"/>
                <a:gd name="T15" fmla="*/ 116 h 220"/>
                <a:gd name="T16" fmla="*/ 144 w 224"/>
                <a:gd name="T17" fmla="*/ 116 h 220"/>
                <a:gd name="T18" fmla="*/ 60 w 224"/>
                <a:gd name="T19" fmla="*/ 48 h 220"/>
                <a:gd name="T20" fmla="*/ 75 w 224"/>
                <a:gd name="T21" fmla="*/ 64 h 220"/>
                <a:gd name="T22" fmla="*/ 76 w 224"/>
                <a:gd name="T23" fmla="*/ 64 h 220"/>
                <a:gd name="T24" fmla="*/ 148 w 224"/>
                <a:gd name="T25" fmla="*/ 64 h 220"/>
                <a:gd name="T26" fmla="*/ 164 w 224"/>
                <a:gd name="T27" fmla="*/ 49 h 220"/>
                <a:gd name="T28" fmla="*/ 164 w 224"/>
                <a:gd name="T29" fmla="*/ 48 h 220"/>
                <a:gd name="T30" fmla="*/ 212 w 224"/>
                <a:gd name="T31" fmla="*/ 48 h 220"/>
                <a:gd name="T32" fmla="*/ 224 w 224"/>
                <a:gd name="T33" fmla="*/ 60 h 220"/>
                <a:gd name="T34" fmla="*/ 224 w 224"/>
                <a:gd name="T35" fmla="*/ 160 h 220"/>
                <a:gd name="T36" fmla="*/ 212 w 224"/>
                <a:gd name="T37" fmla="*/ 172 h 220"/>
                <a:gd name="T38" fmla="*/ 164 w 224"/>
                <a:gd name="T39" fmla="*/ 172 h 220"/>
                <a:gd name="T40" fmla="*/ 164 w 224"/>
                <a:gd name="T41" fmla="*/ 124 h 220"/>
                <a:gd name="T42" fmla="*/ 149 w 224"/>
                <a:gd name="T43" fmla="*/ 108 h 220"/>
                <a:gd name="T44" fmla="*/ 148 w 224"/>
                <a:gd name="T45" fmla="*/ 108 h 220"/>
                <a:gd name="T46" fmla="*/ 76 w 224"/>
                <a:gd name="T47" fmla="*/ 108 h 220"/>
                <a:gd name="T48" fmla="*/ 60 w 224"/>
                <a:gd name="T49" fmla="*/ 123 h 220"/>
                <a:gd name="T50" fmla="*/ 60 w 224"/>
                <a:gd name="T51" fmla="*/ 124 h 220"/>
                <a:gd name="T52" fmla="*/ 60 w 224"/>
                <a:gd name="T53" fmla="*/ 172 h 220"/>
                <a:gd name="T54" fmla="*/ 12 w 224"/>
                <a:gd name="T55" fmla="*/ 172 h 220"/>
                <a:gd name="T56" fmla="*/ 0 w 224"/>
                <a:gd name="T57" fmla="*/ 160 h 220"/>
                <a:gd name="T58" fmla="*/ 0 w 224"/>
                <a:gd name="T59" fmla="*/ 84 h 220"/>
                <a:gd name="T60" fmla="*/ 4 w 224"/>
                <a:gd name="T61" fmla="*/ 73 h 220"/>
                <a:gd name="T62" fmla="*/ 23 w 224"/>
                <a:gd name="T63" fmla="*/ 53 h 220"/>
                <a:gd name="T64" fmla="*/ 35 w 224"/>
                <a:gd name="T65" fmla="*/ 48 h 220"/>
                <a:gd name="T66" fmla="*/ 60 w 224"/>
                <a:gd name="T67" fmla="*/ 48 h 220"/>
                <a:gd name="T68" fmla="*/ 194 w 224"/>
                <a:gd name="T69" fmla="*/ 72 h 220"/>
                <a:gd name="T70" fmla="*/ 188 w 224"/>
                <a:gd name="T71" fmla="*/ 78 h 220"/>
                <a:gd name="T72" fmla="*/ 194 w 224"/>
                <a:gd name="T73" fmla="*/ 84 h 220"/>
                <a:gd name="T74" fmla="*/ 200 w 224"/>
                <a:gd name="T75" fmla="*/ 78 h 220"/>
                <a:gd name="T76" fmla="*/ 194 w 224"/>
                <a:gd name="T77" fmla="*/ 72 h 220"/>
                <a:gd name="T78" fmla="*/ 144 w 224"/>
                <a:gd name="T79" fmla="*/ 0 h 220"/>
                <a:gd name="T80" fmla="*/ 156 w 224"/>
                <a:gd name="T81" fmla="*/ 12 h 220"/>
                <a:gd name="T82" fmla="*/ 156 w 224"/>
                <a:gd name="T83" fmla="*/ 44 h 220"/>
                <a:gd name="T84" fmla="*/ 144 w 224"/>
                <a:gd name="T85" fmla="*/ 56 h 220"/>
                <a:gd name="T86" fmla="*/ 80 w 224"/>
                <a:gd name="T87" fmla="*/ 56 h 220"/>
                <a:gd name="T88" fmla="*/ 68 w 224"/>
                <a:gd name="T89" fmla="*/ 44 h 220"/>
                <a:gd name="T90" fmla="*/ 68 w 224"/>
                <a:gd name="T91" fmla="*/ 12 h 220"/>
                <a:gd name="T92" fmla="*/ 80 w 224"/>
                <a:gd name="T93" fmla="*/ 0 h 220"/>
                <a:gd name="T94" fmla="*/ 144 w 224"/>
                <a:gd name="T9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4" h="220">
                  <a:moveTo>
                    <a:pt x="144" y="116"/>
                  </a:moveTo>
                  <a:cubicBezTo>
                    <a:pt x="151" y="116"/>
                    <a:pt x="156" y="121"/>
                    <a:pt x="156" y="128"/>
                  </a:cubicBezTo>
                  <a:cubicBezTo>
                    <a:pt x="156" y="208"/>
                    <a:pt x="156" y="208"/>
                    <a:pt x="156" y="208"/>
                  </a:cubicBezTo>
                  <a:cubicBezTo>
                    <a:pt x="156" y="215"/>
                    <a:pt x="151" y="220"/>
                    <a:pt x="144" y="220"/>
                  </a:cubicBezTo>
                  <a:cubicBezTo>
                    <a:pt x="80" y="220"/>
                    <a:pt x="80" y="220"/>
                    <a:pt x="80" y="220"/>
                  </a:cubicBezTo>
                  <a:cubicBezTo>
                    <a:pt x="73" y="220"/>
                    <a:pt x="68" y="215"/>
                    <a:pt x="68" y="20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1"/>
                    <a:pt x="73" y="116"/>
                    <a:pt x="80" y="116"/>
                  </a:cubicBezTo>
                  <a:lnTo>
                    <a:pt x="144" y="116"/>
                  </a:lnTo>
                  <a:close/>
                  <a:moveTo>
                    <a:pt x="60" y="48"/>
                  </a:moveTo>
                  <a:cubicBezTo>
                    <a:pt x="60" y="57"/>
                    <a:pt x="67" y="64"/>
                    <a:pt x="75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148" y="64"/>
                    <a:pt x="148" y="64"/>
                    <a:pt x="148" y="64"/>
                  </a:cubicBezTo>
                  <a:cubicBezTo>
                    <a:pt x="157" y="64"/>
                    <a:pt x="164" y="57"/>
                    <a:pt x="164" y="49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212" y="48"/>
                    <a:pt x="212" y="48"/>
                    <a:pt x="212" y="48"/>
                  </a:cubicBezTo>
                  <a:cubicBezTo>
                    <a:pt x="219" y="48"/>
                    <a:pt x="224" y="53"/>
                    <a:pt x="224" y="60"/>
                  </a:cubicBezTo>
                  <a:cubicBezTo>
                    <a:pt x="224" y="160"/>
                    <a:pt x="224" y="160"/>
                    <a:pt x="224" y="160"/>
                  </a:cubicBezTo>
                  <a:cubicBezTo>
                    <a:pt x="224" y="167"/>
                    <a:pt x="219" y="172"/>
                    <a:pt x="212" y="172"/>
                  </a:cubicBezTo>
                  <a:cubicBezTo>
                    <a:pt x="164" y="172"/>
                    <a:pt x="164" y="172"/>
                    <a:pt x="164" y="172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64" y="115"/>
                    <a:pt x="157" y="108"/>
                    <a:pt x="149" y="108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67" y="108"/>
                    <a:pt x="60" y="115"/>
                    <a:pt x="60" y="123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12" y="172"/>
                    <a:pt x="12" y="172"/>
                    <a:pt x="12" y="172"/>
                  </a:cubicBezTo>
                  <a:cubicBezTo>
                    <a:pt x="5" y="172"/>
                    <a:pt x="0" y="167"/>
                    <a:pt x="0" y="16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0"/>
                    <a:pt x="2" y="76"/>
                    <a:pt x="4" y="7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6" y="50"/>
                    <a:pt x="31" y="48"/>
                    <a:pt x="35" y="48"/>
                  </a:cubicBezTo>
                  <a:lnTo>
                    <a:pt x="60" y="48"/>
                  </a:lnTo>
                  <a:close/>
                  <a:moveTo>
                    <a:pt x="194" y="72"/>
                  </a:moveTo>
                  <a:cubicBezTo>
                    <a:pt x="191" y="72"/>
                    <a:pt x="188" y="75"/>
                    <a:pt x="188" y="78"/>
                  </a:cubicBezTo>
                  <a:cubicBezTo>
                    <a:pt x="188" y="81"/>
                    <a:pt x="191" y="84"/>
                    <a:pt x="194" y="84"/>
                  </a:cubicBezTo>
                  <a:cubicBezTo>
                    <a:pt x="197" y="84"/>
                    <a:pt x="200" y="81"/>
                    <a:pt x="200" y="78"/>
                  </a:cubicBezTo>
                  <a:cubicBezTo>
                    <a:pt x="200" y="75"/>
                    <a:pt x="197" y="72"/>
                    <a:pt x="194" y="72"/>
                  </a:cubicBezTo>
                  <a:close/>
                  <a:moveTo>
                    <a:pt x="144" y="0"/>
                  </a:moveTo>
                  <a:cubicBezTo>
                    <a:pt x="151" y="0"/>
                    <a:pt x="156" y="5"/>
                    <a:pt x="156" y="12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56" y="51"/>
                    <a:pt x="151" y="56"/>
                    <a:pt x="14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3" y="56"/>
                    <a:pt x="68" y="51"/>
                    <a:pt x="68" y="44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5"/>
                    <a:pt x="73" y="0"/>
                    <a:pt x="80" y="0"/>
                  </a:cubicBezTo>
                  <a:lnTo>
                    <a:pt x="14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2763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ṧlî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îṩļídé">
            <a:extLst>
              <a:ext uri="{FF2B5EF4-FFF2-40B4-BE49-F238E27FC236}">
                <a16:creationId xmlns:a16="http://schemas.microsoft.com/office/drawing/2014/main" id="{D4AFC2C6-D3C1-4058-8F17-1C036684626E}"/>
              </a:ext>
            </a:extLst>
          </p:cNvPr>
          <p:cNvSpPr/>
          <p:nvPr/>
        </p:nvSpPr>
        <p:spPr>
          <a:xfrm>
            <a:off x="4498287" y="2205038"/>
            <a:ext cx="2847085" cy="1940991"/>
          </a:xfrm>
          <a:prstGeom prst="roundRect">
            <a:avLst>
              <a:gd name="adj" fmla="val 5585"/>
            </a:avLst>
          </a:prstGeom>
          <a:blipFill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49" name="íṩliďé">
            <a:extLst>
              <a:ext uri="{FF2B5EF4-FFF2-40B4-BE49-F238E27FC236}">
                <a16:creationId xmlns:a16="http://schemas.microsoft.com/office/drawing/2014/main" id="{ED2EF395-E46F-4D13-A818-A8AB51CBE1C1}"/>
              </a:ext>
            </a:extLst>
          </p:cNvPr>
          <p:cNvSpPr/>
          <p:nvPr/>
        </p:nvSpPr>
        <p:spPr>
          <a:xfrm>
            <a:off x="7777372" y="2205034"/>
            <a:ext cx="2847085" cy="1940991"/>
          </a:xfrm>
          <a:prstGeom prst="roundRect">
            <a:avLst>
              <a:gd name="adj" fmla="val 5585"/>
            </a:avLst>
          </a:prstGeom>
          <a:blipFill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46" name="iSľíḑê">
            <a:extLst>
              <a:ext uri="{FF2B5EF4-FFF2-40B4-BE49-F238E27FC236}">
                <a16:creationId xmlns:a16="http://schemas.microsoft.com/office/drawing/2014/main" id="{928E80DD-6D85-4686-AE6F-078CC4477697}"/>
              </a:ext>
            </a:extLst>
          </p:cNvPr>
          <p:cNvSpPr/>
          <p:nvPr/>
        </p:nvSpPr>
        <p:spPr>
          <a:xfrm>
            <a:off x="1219201" y="2205038"/>
            <a:ext cx="2847085" cy="1940991"/>
          </a:xfrm>
          <a:prstGeom prst="roundRect">
            <a:avLst>
              <a:gd name="adj" fmla="val 5585"/>
            </a:avLst>
          </a:prstGeom>
          <a:blipFill>
            <a:blip r:embed="rId6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" name="ïṣ1ïďe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ślídê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slîḑe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40" name="ïṧļîdé">
            <a:extLst>
              <a:ext uri="{FF2B5EF4-FFF2-40B4-BE49-F238E27FC236}">
                <a16:creationId xmlns:a16="http://schemas.microsoft.com/office/drawing/2014/main" id="{3E9A6EFC-7A48-4527-BFEA-7261A91FC296}"/>
              </a:ext>
            </a:extLst>
          </p:cNvPr>
          <p:cNvSpPr txBox="1"/>
          <p:nvPr/>
        </p:nvSpPr>
        <p:spPr>
          <a:xfrm>
            <a:off x="1219201" y="4212091"/>
            <a:ext cx="2689383" cy="40915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41" name="i$ḻîḋê">
            <a:extLst>
              <a:ext uri="{FF2B5EF4-FFF2-40B4-BE49-F238E27FC236}">
                <a16:creationId xmlns:a16="http://schemas.microsoft.com/office/drawing/2014/main" id="{75CF4343-CE66-4E04-A6B2-E81B63E43653}"/>
              </a:ext>
            </a:extLst>
          </p:cNvPr>
          <p:cNvSpPr/>
          <p:nvPr/>
        </p:nvSpPr>
        <p:spPr bwMode="auto">
          <a:xfrm>
            <a:off x="1219201" y="4621254"/>
            <a:ext cx="2689383" cy="619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42" name="iṩlíḓè">
            <a:extLst>
              <a:ext uri="{FF2B5EF4-FFF2-40B4-BE49-F238E27FC236}">
                <a16:creationId xmlns:a16="http://schemas.microsoft.com/office/drawing/2014/main" id="{293BA6AD-65A1-4F87-A9E6-7612FBF840E1}"/>
              </a:ext>
            </a:extLst>
          </p:cNvPr>
          <p:cNvSpPr txBox="1"/>
          <p:nvPr/>
        </p:nvSpPr>
        <p:spPr>
          <a:xfrm>
            <a:off x="4498286" y="4325527"/>
            <a:ext cx="2689383" cy="40915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43" name="iṧļíďé">
            <a:extLst>
              <a:ext uri="{FF2B5EF4-FFF2-40B4-BE49-F238E27FC236}">
                <a16:creationId xmlns:a16="http://schemas.microsoft.com/office/drawing/2014/main" id="{AA6CFBE6-B91A-4118-A0CF-9E8E6D8D4BD3}"/>
              </a:ext>
            </a:extLst>
          </p:cNvPr>
          <p:cNvSpPr/>
          <p:nvPr/>
        </p:nvSpPr>
        <p:spPr bwMode="auto">
          <a:xfrm>
            <a:off x="4498286" y="4734689"/>
            <a:ext cx="2689383" cy="619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44" name="í$ľíḑê">
            <a:extLst>
              <a:ext uri="{FF2B5EF4-FFF2-40B4-BE49-F238E27FC236}">
                <a16:creationId xmlns:a16="http://schemas.microsoft.com/office/drawing/2014/main" id="{D1218621-6B8E-432D-A6F4-C1A7AEC59592}"/>
              </a:ext>
            </a:extLst>
          </p:cNvPr>
          <p:cNvSpPr txBox="1"/>
          <p:nvPr/>
        </p:nvSpPr>
        <p:spPr>
          <a:xfrm>
            <a:off x="7777372" y="4260952"/>
            <a:ext cx="2689383" cy="40915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45" name="íṣļíḍê">
            <a:extLst>
              <a:ext uri="{FF2B5EF4-FFF2-40B4-BE49-F238E27FC236}">
                <a16:creationId xmlns:a16="http://schemas.microsoft.com/office/drawing/2014/main" id="{DBCE62E9-D928-4745-860B-0217B7E90735}"/>
              </a:ext>
            </a:extLst>
          </p:cNvPr>
          <p:cNvSpPr/>
          <p:nvPr/>
        </p:nvSpPr>
        <p:spPr bwMode="auto">
          <a:xfrm>
            <a:off x="7777372" y="4670114"/>
            <a:ext cx="2689383" cy="619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002124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ļí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íṧ1ídé">
            <a:extLst>
              <a:ext uri="{FF2B5EF4-FFF2-40B4-BE49-F238E27FC236}">
                <a16:creationId xmlns:a16="http://schemas.microsoft.com/office/drawing/2014/main" id="{EEFDBFEB-8A95-4B37-982E-9838DFACDC58}"/>
              </a:ext>
            </a:extLst>
          </p:cNvPr>
          <p:cNvSpPr/>
          <p:nvPr/>
        </p:nvSpPr>
        <p:spPr>
          <a:xfrm>
            <a:off x="7983484" y="2501367"/>
            <a:ext cx="3231281" cy="3351941"/>
          </a:xfrm>
          <a:prstGeom prst="roundRect">
            <a:avLst>
              <a:gd name="adj" fmla="val 5585"/>
            </a:avLst>
          </a:prstGeom>
          <a:solidFill>
            <a:srgbClr val="F2F2F2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01" name="îśľïḍê">
            <a:extLst>
              <a:ext uri="{FF2B5EF4-FFF2-40B4-BE49-F238E27FC236}">
                <a16:creationId xmlns:a16="http://schemas.microsoft.com/office/drawing/2014/main" id="{05946607-B799-43C8-A2BE-CE506A89882F}"/>
              </a:ext>
            </a:extLst>
          </p:cNvPr>
          <p:cNvSpPr/>
          <p:nvPr/>
        </p:nvSpPr>
        <p:spPr>
          <a:xfrm>
            <a:off x="4522401" y="2501368"/>
            <a:ext cx="3231281" cy="3351941"/>
          </a:xfrm>
          <a:prstGeom prst="roundRect">
            <a:avLst>
              <a:gd name="adj" fmla="val 5585"/>
            </a:avLst>
          </a:prstGeom>
          <a:solidFill>
            <a:srgbClr val="F2F2F2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00" name="îṥḷïḍê">
            <a:extLst>
              <a:ext uri="{FF2B5EF4-FFF2-40B4-BE49-F238E27FC236}">
                <a16:creationId xmlns:a16="http://schemas.microsoft.com/office/drawing/2014/main" id="{AD869C29-0656-4E92-A3E7-083C2469B7C5}"/>
              </a:ext>
            </a:extLst>
          </p:cNvPr>
          <p:cNvSpPr/>
          <p:nvPr/>
        </p:nvSpPr>
        <p:spPr>
          <a:xfrm>
            <a:off x="1061318" y="2501368"/>
            <a:ext cx="3231281" cy="3351941"/>
          </a:xfrm>
          <a:prstGeom prst="roundRect">
            <a:avLst>
              <a:gd name="adj" fmla="val 3374"/>
            </a:avLst>
          </a:prstGeom>
          <a:solidFill>
            <a:srgbClr val="F2F2F2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" name="íŝḷiḋé">
            <a:extLst>
              <a:ext uri="{FF2B5EF4-FFF2-40B4-BE49-F238E27FC236}">
                <a16:creationId xmlns:a16="http://schemas.microsoft.com/office/drawing/2014/main" id="{307FC68B-8D6D-47F2-B2AE-C9A64B771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ṧ1îḋé">
            <a:extLst>
              <a:ext uri="{FF2B5EF4-FFF2-40B4-BE49-F238E27FC236}">
                <a16:creationId xmlns:a16="http://schemas.microsoft.com/office/drawing/2014/main" id="{0C06039D-8444-449B-AF7B-5B8AD71D55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ŝḻïḋe">
            <a:extLst>
              <a:ext uri="{FF2B5EF4-FFF2-40B4-BE49-F238E27FC236}">
                <a16:creationId xmlns:a16="http://schemas.microsoft.com/office/drawing/2014/main" id="{18DEEB77-3D38-400D-B38D-6A1896AEF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72" name="îṧ1ïḓe">
            <a:extLst>
              <a:ext uri="{FF2B5EF4-FFF2-40B4-BE49-F238E27FC236}">
                <a16:creationId xmlns:a16="http://schemas.microsoft.com/office/drawing/2014/main" id="{EA42AB5E-935D-4DDD-9A8A-3AF7358543E5}"/>
              </a:ext>
            </a:extLst>
          </p:cNvPr>
          <p:cNvSpPr txBox="1"/>
          <p:nvPr/>
        </p:nvSpPr>
        <p:spPr>
          <a:xfrm>
            <a:off x="669924" y="1286589"/>
            <a:ext cx="10848976" cy="56683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en-US" sz="2400" b="1" dirty="0"/>
              <a:t>Unified fonts make reading more fluent.</a:t>
            </a:r>
          </a:p>
        </p:txBody>
      </p:sp>
      <p:sp>
        <p:nvSpPr>
          <p:cNvPr id="73" name="íṡlïḓê">
            <a:extLst>
              <a:ext uri="{FF2B5EF4-FFF2-40B4-BE49-F238E27FC236}">
                <a16:creationId xmlns:a16="http://schemas.microsoft.com/office/drawing/2014/main" id="{818284F9-C568-4D55-A938-42CA2A260A48}"/>
              </a:ext>
            </a:extLst>
          </p:cNvPr>
          <p:cNvSpPr txBox="1"/>
          <p:nvPr/>
        </p:nvSpPr>
        <p:spPr>
          <a:xfrm>
            <a:off x="1257300" y="3757244"/>
            <a:ext cx="2764088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74" name="ï$ļîde">
            <a:extLst>
              <a:ext uri="{FF2B5EF4-FFF2-40B4-BE49-F238E27FC236}">
                <a16:creationId xmlns:a16="http://schemas.microsoft.com/office/drawing/2014/main" id="{7E9A01FC-9C6C-411B-9CA8-440B280F4255}"/>
              </a:ext>
            </a:extLst>
          </p:cNvPr>
          <p:cNvSpPr/>
          <p:nvPr/>
        </p:nvSpPr>
        <p:spPr bwMode="auto">
          <a:xfrm>
            <a:off x="1257300" y="4177772"/>
            <a:ext cx="2764088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75" name="i$ļídè">
            <a:extLst>
              <a:ext uri="{FF2B5EF4-FFF2-40B4-BE49-F238E27FC236}">
                <a16:creationId xmlns:a16="http://schemas.microsoft.com/office/drawing/2014/main" id="{81BFC0B1-003A-4791-979F-8159C991B26E}"/>
              </a:ext>
            </a:extLst>
          </p:cNvPr>
          <p:cNvSpPr txBox="1"/>
          <p:nvPr/>
        </p:nvSpPr>
        <p:spPr>
          <a:xfrm>
            <a:off x="4780297" y="3757244"/>
            <a:ext cx="2764088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76" name="îs1îḋé">
            <a:extLst>
              <a:ext uri="{FF2B5EF4-FFF2-40B4-BE49-F238E27FC236}">
                <a16:creationId xmlns:a16="http://schemas.microsoft.com/office/drawing/2014/main" id="{3E7A5F20-954B-41A4-A6B2-32ADCBC4CDC7}"/>
              </a:ext>
            </a:extLst>
          </p:cNvPr>
          <p:cNvSpPr/>
          <p:nvPr/>
        </p:nvSpPr>
        <p:spPr bwMode="auto">
          <a:xfrm>
            <a:off x="4780297" y="4177772"/>
            <a:ext cx="2764088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77" name="ïṧľîḋé">
            <a:extLst>
              <a:ext uri="{FF2B5EF4-FFF2-40B4-BE49-F238E27FC236}">
                <a16:creationId xmlns:a16="http://schemas.microsoft.com/office/drawing/2014/main" id="{5F2D911B-99F1-401D-9AB1-7F3AE1AA4B4D}"/>
              </a:ext>
            </a:extLst>
          </p:cNvPr>
          <p:cNvSpPr txBox="1"/>
          <p:nvPr/>
        </p:nvSpPr>
        <p:spPr>
          <a:xfrm>
            <a:off x="8241381" y="3757244"/>
            <a:ext cx="2764088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/>
              <a:t>Text here</a:t>
            </a:r>
            <a:endParaRPr lang="id-ID" sz="1600" b="1" dirty="0"/>
          </a:p>
        </p:txBody>
      </p:sp>
      <p:sp>
        <p:nvSpPr>
          <p:cNvPr id="78" name="ïṥḻíḑê">
            <a:extLst>
              <a:ext uri="{FF2B5EF4-FFF2-40B4-BE49-F238E27FC236}">
                <a16:creationId xmlns:a16="http://schemas.microsoft.com/office/drawing/2014/main" id="{149BCD17-35AB-408A-A5B2-2F1AF508CBE8}"/>
              </a:ext>
            </a:extLst>
          </p:cNvPr>
          <p:cNvSpPr/>
          <p:nvPr/>
        </p:nvSpPr>
        <p:spPr bwMode="auto">
          <a:xfrm>
            <a:off x="8241381" y="4177772"/>
            <a:ext cx="2764088" cy="63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97" name="íṣ1iḑê">
            <a:extLst>
              <a:ext uri="{FF2B5EF4-FFF2-40B4-BE49-F238E27FC236}">
                <a16:creationId xmlns:a16="http://schemas.microsoft.com/office/drawing/2014/main" id="{77126B06-0E21-4C43-8230-E2963FEDA83A}"/>
              </a:ext>
            </a:extLst>
          </p:cNvPr>
          <p:cNvSpPr/>
          <p:nvPr/>
        </p:nvSpPr>
        <p:spPr>
          <a:xfrm>
            <a:off x="2370554" y="3123229"/>
            <a:ext cx="583365" cy="488360"/>
          </a:xfrm>
          <a:custGeom>
            <a:avLst/>
            <a:gdLst>
              <a:gd name="T0" fmla="*/ 203 w 222"/>
              <a:gd name="T1" fmla="*/ 56 h 184"/>
              <a:gd name="T2" fmla="*/ 222 w 222"/>
              <a:gd name="T3" fmla="*/ 75 h 184"/>
              <a:gd name="T4" fmla="*/ 221 w 222"/>
              <a:gd name="T5" fmla="*/ 76 h 184"/>
              <a:gd name="T6" fmla="*/ 216 w 222"/>
              <a:gd name="T7" fmla="*/ 149 h 184"/>
              <a:gd name="T8" fmla="*/ 204 w 222"/>
              <a:gd name="T9" fmla="*/ 160 h 184"/>
              <a:gd name="T10" fmla="*/ 191 w 222"/>
              <a:gd name="T11" fmla="*/ 160 h 184"/>
              <a:gd name="T12" fmla="*/ 191 w 222"/>
              <a:gd name="T13" fmla="*/ 184 h 184"/>
              <a:gd name="T14" fmla="*/ 183 w 222"/>
              <a:gd name="T15" fmla="*/ 184 h 184"/>
              <a:gd name="T16" fmla="*/ 183 w 222"/>
              <a:gd name="T17" fmla="*/ 160 h 184"/>
              <a:gd name="T18" fmla="*/ 39 w 222"/>
              <a:gd name="T19" fmla="*/ 160 h 184"/>
              <a:gd name="T20" fmla="*/ 39 w 222"/>
              <a:gd name="T21" fmla="*/ 184 h 184"/>
              <a:gd name="T22" fmla="*/ 31 w 222"/>
              <a:gd name="T23" fmla="*/ 184 h 184"/>
              <a:gd name="T24" fmla="*/ 31 w 222"/>
              <a:gd name="T25" fmla="*/ 160 h 184"/>
              <a:gd name="T26" fmla="*/ 18 w 222"/>
              <a:gd name="T27" fmla="*/ 160 h 184"/>
              <a:gd name="T28" fmla="*/ 6 w 222"/>
              <a:gd name="T29" fmla="*/ 149 h 184"/>
              <a:gd name="T30" fmla="*/ 1 w 222"/>
              <a:gd name="T31" fmla="*/ 76 h 184"/>
              <a:gd name="T32" fmla="*/ 18 w 222"/>
              <a:gd name="T33" fmla="*/ 56 h 184"/>
              <a:gd name="T34" fmla="*/ 19 w 222"/>
              <a:gd name="T35" fmla="*/ 56 h 184"/>
              <a:gd name="T36" fmla="*/ 43 w 222"/>
              <a:gd name="T37" fmla="*/ 76 h 184"/>
              <a:gd name="T38" fmla="*/ 51 w 222"/>
              <a:gd name="T39" fmla="*/ 120 h 184"/>
              <a:gd name="T40" fmla="*/ 171 w 222"/>
              <a:gd name="T41" fmla="*/ 120 h 184"/>
              <a:gd name="T42" fmla="*/ 179 w 222"/>
              <a:gd name="T43" fmla="*/ 76 h 184"/>
              <a:gd name="T44" fmla="*/ 203 w 222"/>
              <a:gd name="T45" fmla="*/ 56 h 184"/>
              <a:gd name="T46" fmla="*/ 175 w 222"/>
              <a:gd name="T47" fmla="*/ 0 h 184"/>
              <a:gd name="T48" fmla="*/ 203 w 222"/>
              <a:gd name="T49" fmla="*/ 28 h 184"/>
              <a:gd name="T50" fmla="*/ 203 w 222"/>
              <a:gd name="T51" fmla="*/ 48 h 184"/>
              <a:gd name="T52" fmla="*/ 200 w 222"/>
              <a:gd name="T53" fmla="*/ 48 h 184"/>
              <a:gd name="T54" fmla="*/ 173 w 222"/>
              <a:gd name="T55" fmla="*/ 70 h 184"/>
              <a:gd name="T56" fmla="*/ 173 w 222"/>
              <a:gd name="T57" fmla="*/ 71 h 184"/>
              <a:gd name="T58" fmla="*/ 165 w 222"/>
              <a:gd name="T59" fmla="*/ 112 h 184"/>
              <a:gd name="T60" fmla="*/ 57 w 222"/>
              <a:gd name="T61" fmla="*/ 112 h 184"/>
              <a:gd name="T62" fmla="*/ 49 w 222"/>
              <a:gd name="T63" fmla="*/ 71 h 184"/>
              <a:gd name="T64" fmla="*/ 22 w 222"/>
              <a:gd name="T65" fmla="*/ 48 h 184"/>
              <a:gd name="T66" fmla="*/ 23 w 222"/>
              <a:gd name="T67" fmla="*/ 28 h 184"/>
              <a:gd name="T68" fmla="*/ 51 w 222"/>
              <a:gd name="T69" fmla="*/ 0 h 184"/>
              <a:gd name="T70" fmla="*/ 175 w 222"/>
              <a:gd name="T71" fmla="*/ 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2" h="184">
                <a:moveTo>
                  <a:pt x="203" y="56"/>
                </a:moveTo>
                <a:cubicBezTo>
                  <a:pt x="213" y="56"/>
                  <a:pt x="222" y="64"/>
                  <a:pt x="222" y="75"/>
                </a:cubicBezTo>
                <a:cubicBezTo>
                  <a:pt x="222" y="75"/>
                  <a:pt x="222" y="75"/>
                  <a:pt x="221" y="76"/>
                </a:cubicBezTo>
                <a:cubicBezTo>
                  <a:pt x="216" y="149"/>
                  <a:pt x="216" y="149"/>
                  <a:pt x="216" y="149"/>
                </a:cubicBezTo>
                <a:cubicBezTo>
                  <a:pt x="215" y="155"/>
                  <a:pt x="210" y="160"/>
                  <a:pt x="204" y="160"/>
                </a:cubicBezTo>
                <a:cubicBezTo>
                  <a:pt x="191" y="160"/>
                  <a:pt x="191" y="160"/>
                  <a:pt x="191" y="160"/>
                </a:cubicBezTo>
                <a:cubicBezTo>
                  <a:pt x="191" y="184"/>
                  <a:pt x="191" y="184"/>
                  <a:pt x="191" y="184"/>
                </a:cubicBezTo>
                <a:cubicBezTo>
                  <a:pt x="183" y="184"/>
                  <a:pt x="183" y="184"/>
                  <a:pt x="183" y="184"/>
                </a:cubicBezTo>
                <a:cubicBezTo>
                  <a:pt x="183" y="160"/>
                  <a:pt x="183" y="160"/>
                  <a:pt x="183" y="160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39" y="184"/>
                  <a:pt x="39" y="184"/>
                  <a:pt x="39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31" y="160"/>
                  <a:pt x="31" y="160"/>
                  <a:pt x="31" y="160"/>
                </a:cubicBezTo>
                <a:cubicBezTo>
                  <a:pt x="18" y="160"/>
                  <a:pt x="18" y="160"/>
                  <a:pt x="18" y="160"/>
                </a:cubicBezTo>
                <a:cubicBezTo>
                  <a:pt x="12" y="160"/>
                  <a:pt x="7" y="155"/>
                  <a:pt x="6" y="149"/>
                </a:cubicBezTo>
                <a:cubicBezTo>
                  <a:pt x="1" y="76"/>
                  <a:pt x="1" y="76"/>
                  <a:pt x="1" y="76"/>
                </a:cubicBezTo>
                <a:cubicBezTo>
                  <a:pt x="0" y="66"/>
                  <a:pt x="7" y="57"/>
                  <a:pt x="18" y="56"/>
                </a:cubicBezTo>
                <a:cubicBezTo>
                  <a:pt x="18" y="56"/>
                  <a:pt x="19" y="56"/>
                  <a:pt x="19" y="56"/>
                </a:cubicBezTo>
                <a:cubicBezTo>
                  <a:pt x="31" y="56"/>
                  <a:pt x="41" y="64"/>
                  <a:pt x="43" y="76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171" y="120"/>
                  <a:pt x="171" y="120"/>
                  <a:pt x="171" y="120"/>
                </a:cubicBezTo>
                <a:cubicBezTo>
                  <a:pt x="179" y="76"/>
                  <a:pt x="179" y="76"/>
                  <a:pt x="179" y="76"/>
                </a:cubicBezTo>
                <a:cubicBezTo>
                  <a:pt x="181" y="64"/>
                  <a:pt x="191" y="56"/>
                  <a:pt x="203" y="56"/>
                </a:cubicBezTo>
                <a:close/>
                <a:moveTo>
                  <a:pt x="175" y="0"/>
                </a:moveTo>
                <a:cubicBezTo>
                  <a:pt x="190" y="0"/>
                  <a:pt x="203" y="13"/>
                  <a:pt x="203" y="28"/>
                </a:cubicBezTo>
                <a:cubicBezTo>
                  <a:pt x="203" y="48"/>
                  <a:pt x="203" y="48"/>
                  <a:pt x="203" y="48"/>
                </a:cubicBezTo>
                <a:cubicBezTo>
                  <a:pt x="202" y="48"/>
                  <a:pt x="201" y="48"/>
                  <a:pt x="200" y="48"/>
                </a:cubicBezTo>
                <a:cubicBezTo>
                  <a:pt x="187" y="48"/>
                  <a:pt x="176" y="57"/>
                  <a:pt x="173" y="70"/>
                </a:cubicBezTo>
                <a:cubicBezTo>
                  <a:pt x="173" y="71"/>
                  <a:pt x="173" y="71"/>
                  <a:pt x="173" y="71"/>
                </a:cubicBezTo>
                <a:cubicBezTo>
                  <a:pt x="165" y="112"/>
                  <a:pt x="165" y="112"/>
                  <a:pt x="165" y="112"/>
                </a:cubicBezTo>
                <a:cubicBezTo>
                  <a:pt x="57" y="112"/>
                  <a:pt x="57" y="112"/>
                  <a:pt x="57" y="112"/>
                </a:cubicBezTo>
                <a:cubicBezTo>
                  <a:pt x="49" y="71"/>
                  <a:pt x="49" y="71"/>
                  <a:pt x="49" y="71"/>
                </a:cubicBezTo>
                <a:cubicBezTo>
                  <a:pt x="47" y="57"/>
                  <a:pt x="35" y="48"/>
                  <a:pt x="22" y="48"/>
                </a:cubicBezTo>
                <a:cubicBezTo>
                  <a:pt x="23" y="28"/>
                  <a:pt x="23" y="28"/>
                  <a:pt x="23" y="28"/>
                </a:cubicBezTo>
                <a:cubicBezTo>
                  <a:pt x="23" y="13"/>
                  <a:pt x="36" y="0"/>
                  <a:pt x="51" y="0"/>
                </a:cubicBezTo>
                <a:lnTo>
                  <a:pt x="175" y="0"/>
                </a:ln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9" name="i$ļïḓê">
            <a:extLst>
              <a:ext uri="{FF2B5EF4-FFF2-40B4-BE49-F238E27FC236}">
                <a16:creationId xmlns:a16="http://schemas.microsoft.com/office/drawing/2014/main" id="{918655A5-5782-4848-AD02-DC5A2186BBD0}"/>
              </a:ext>
            </a:extLst>
          </p:cNvPr>
          <p:cNvSpPr/>
          <p:nvPr/>
        </p:nvSpPr>
        <p:spPr>
          <a:xfrm>
            <a:off x="5870658" y="3132347"/>
            <a:ext cx="583365" cy="470123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accent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0" name="îṡḷîḋé">
            <a:extLst>
              <a:ext uri="{FF2B5EF4-FFF2-40B4-BE49-F238E27FC236}">
                <a16:creationId xmlns:a16="http://schemas.microsoft.com/office/drawing/2014/main" id="{6624587B-B9C4-4795-8E8A-6CF895DE5010}"/>
              </a:ext>
            </a:extLst>
          </p:cNvPr>
          <p:cNvSpPr/>
          <p:nvPr/>
        </p:nvSpPr>
        <p:spPr>
          <a:xfrm>
            <a:off x="9409750" y="3075726"/>
            <a:ext cx="427349" cy="583365"/>
          </a:xfrm>
          <a:custGeom>
            <a:avLst/>
            <a:gdLst>
              <a:gd name="T0" fmla="*/ 36 w 160"/>
              <a:gd name="T1" fmla="*/ 16 h 216"/>
              <a:gd name="T2" fmla="*/ 36 w 160"/>
              <a:gd name="T3" fmla="*/ 24 h 216"/>
              <a:gd name="T4" fmla="*/ 51 w 160"/>
              <a:gd name="T5" fmla="*/ 40 h 216"/>
              <a:gd name="T6" fmla="*/ 52 w 160"/>
              <a:gd name="T7" fmla="*/ 40 h 216"/>
              <a:gd name="T8" fmla="*/ 108 w 160"/>
              <a:gd name="T9" fmla="*/ 40 h 216"/>
              <a:gd name="T10" fmla="*/ 124 w 160"/>
              <a:gd name="T11" fmla="*/ 25 h 216"/>
              <a:gd name="T12" fmla="*/ 124 w 160"/>
              <a:gd name="T13" fmla="*/ 24 h 216"/>
              <a:gd name="T14" fmla="*/ 124 w 160"/>
              <a:gd name="T15" fmla="*/ 16 h 216"/>
              <a:gd name="T16" fmla="*/ 148 w 160"/>
              <a:gd name="T17" fmla="*/ 16 h 216"/>
              <a:gd name="T18" fmla="*/ 160 w 160"/>
              <a:gd name="T19" fmla="*/ 28 h 216"/>
              <a:gd name="T20" fmla="*/ 160 w 160"/>
              <a:gd name="T21" fmla="*/ 204 h 216"/>
              <a:gd name="T22" fmla="*/ 148 w 160"/>
              <a:gd name="T23" fmla="*/ 216 h 216"/>
              <a:gd name="T24" fmla="*/ 12 w 160"/>
              <a:gd name="T25" fmla="*/ 216 h 216"/>
              <a:gd name="T26" fmla="*/ 0 w 160"/>
              <a:gd name="T27" fmla="*/ 204 h 216"/>
              <a:gd name="T28" fmla="*/ 0 w 160"/>
              <a:gd name="T29" fmla="*/ 28 h 216"/>
              <a:gd name="T30" fmla="*/ 12 w 160"/>
              <a:gd name="T31" fmla="*/ 16 h 216"/>
              <a:gd name="T32" fmla="*/ 36 w 160"/>
              <a:gd name="T33" fmla="*/ 16 h 216"/>
              <a:gd name="T34" fmla="*/ 80 w 160"/>
              <a:gd name="T35" fmla="*/ 140 h 216"/>
              <a:gd name="T36" fmla="*/ 32 w 160"/>
              <a:gd name="T37" fmla="*/ 140 h 216"/>
              <a:gd name="T38" fmla="*/ 32 w 160"/>
              <a:gd name="T39" fmla="*/ 148 h 216"/>
              <a:gd name="T40" fmla="*/ 80 w 160"/>
              <a:gd name="T41" fmla="*/ 148 h 216"/>
              <a:gd name="T42" fmla="*/ 80 w 160"/>
              <a:gd name="T43" fmla="*/ 140 h 216"/>
              <a:gd name="T44" fmla="*/ 128 w 160"/>
              <a:gd name="T45" fmla="*/ 108 h 216"/>
              <a:gd name="T46" fmla="*/ 32 w 160"/>
              <a:gd name="T47" fmla="*/ 108 h 216"/>
              <a:gd name="T48" fmla="*/ 32 w 160"/>
              <a:gd name="T49" fmla="*/ 116 h 216"/>
              <a:gd name="T50" fmla="*/ 128 w 160"/>
              <a:gd name="T51" fmla="*/ 116 h 216"/>
              <a:gd name="T52" fmla="*/ 128 w 160"/>
              <a:gd name="T53" fmla="*/ 108 h 216"/>
              <a:gd name="T54" fmla="*/ 128 w 160"/>
              <a:gd name="T55" fmla="*/ 76 h 216"/>
              <a:gd name="T56" fmla="*/ 32 w 160"/>
              <a:gd name="T57" fmla="*/ 76 h 216"/>
              <a:gd name="T58" fmla="*/ 32 w 160"/>
              <a:gd name="T59" fmla="*/ 84 h 216"/>
              <a:gd name="T60" fmla="*/ 128 w 160"/>
              <a:gd name="T61" fmla="*/ 84 h 216"/>
              <a:gd name="T62" fmla="*/ 128 w 160"/>
              <a:gd name="T63" fmla="*/ 76 h 216"/>
              <a:gd name="T64" fmla="*/ 104 w 160"/>
              <a:gd name="T65" fmla="*/ 0 h 216"/>
              <a:gd name="T66" fmla="*/ 116 w 160"/>
              <a:gd name="T67" fmla="*/ 12 h 216"/>
              <a:gd name="T68" fmla="*/ 116 w 160"/>
              <a:gd name="T69" fmla="*/ 20 h 216"/>
              <a:gd name="T70" fmla="*/ 104 w 160"/>
              <a:gd name="T71" fmla="*/ 32 h 216"/>
              <a:gd name="T72" fmla="*/ 56 w 160"/>
              <a:gd name="T73" fmla="*/ 32 h 216"/>
              <a:gd name="T74" fmla="*/ 44 w 160"/>
              <a:gd name="T75" fmla="*/ 20 h 216"/>
              <a:gd name="T76" fmla="*/ 44 w 160"/>
              <a:gd name="T77" fmla="*/ 12 h 216"/>
              <a:gd name="T78" fmla="*/ 56 w 160"/>
              <a:gd name="T79" fmla="*/ 0 h 216"/>
              <a:gd name="T80" fmla="*/ 104 w 160"/>
              <a:gd name="T8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" h="216">
                <a:moveTo>
                  <a:pt x="36" y="16"/>
                </a:moveTo>
                <a:cubicBezTo>
                  <a:pt x="36" y="24"/>
                  <a:pt x="36" y="24"/>
                  <a:pt x="36" y="24"/>
                </a:cubicBezTo>
                <a:cubicBezTo>
                  <a:pt x="36" y="33"/>
                  <a:pt x="43" y="40"/>
                  <a:pt x="51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108" y="40"/>
                  <a:pt x="108" y="40"/>
                  <a:pt x="108" y="40"/>
                </a:cubicBezTo>
                <a:cubicBezTo>
                  <a:pt x="117" y="40"/>
                  <a:pt x="124" y="33"/>
                  <a:pt x="124" y="25"/>
                </a:cubicBezTo>
                <a:cubicBezTo>
                  <a:pt x="124" y="24"/>
                  <a:pt x="124" y="24"/>
                  <a:pt x="124" y="24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48" y="16"/>
                  <a:pt x="148" y="16"/>
                  <a:pt x="148" y="16"/>
                </a:cubicBezTo>
                <a:cubicBezTo>
                  <a:pt x="155" y="16"/>
                  <a:pt x="160" y="21"/>
                  <a:pt x="160" y="28"/>
                </a:cubicBezTo>
                <a:cubicBezTo>
                  <a:pt x="160" y="204"/>
                  <a:pt x="160" y="204"/>
                  <a:pt x="160" y="204"/>
                </a:cubicBezTo>
                <a:cubicBezTo>
                  <a:pt x="160" y="211"/>
                  <a:pt x="155" y="216"/>
                  <a:pt x="148" y="216"/>
                </a:cubicBezTo>
                <a:cubicBezTo>
                  <a:pt x="12" y="216"/>
                  <a:pt x="12" y="216"/>
                  <a:pt x="12" y="216"/>
                </a:cubicBezTo>
                <a:cubicBezTo>
                  <a:pt x="5" y="216"/>
                  <a:pt x="0" y="211"/>
                  <a:pt x="0" y="20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1"/>
                  <a:pt x="5" y="16"/>
                  <a:pt x="12" y="16"/>
                </a:cubicBezTo>
                <a:lnTo>
                  <a:pt x="36" y="16"/>
                </a:lnTo>
                <a:close/>
                <a:moveTo>
                  <a:pt x="80" y="140"/>
                </a:moveTo>
                <a:cubicBezTo>
                  <a:pt x="32" y="140"/>
                  <a:pt x="32" y="140"/>
                  <a:pt x="32" y="140"/>
                </a:cubicBezTo>
                <a:cubicBezTo>
                  <a:pt x="32" y="148"/>
                  <a:pt x="32" y="148"/>
                  <a:pt x="32" y="148"/>
                </a:cubicBezTo>
                <a:cubicBezTo>
                  <a:pt x="80" y="148"/>
                  <a:pt x="80" y="148"/>
                  <a:pt x="80" y="148"/>
                </a:cubicBezTo>
                <a:lnTo>
                  <a:pt x="80" y="140"/>
                </a:lnTo>
                <a:close/>
                <a:moveTo>
                  <a:pt x="128" y="108"/>
                </a:moveTo>
                <a:cubicBezTo>
                  <a:pt x="32" y="108"/>
                  <a:pt x="32" y="108"/>
                  <a:pt x="32" y="108"/>
                </a:cubicBezTo>
                <a:cubicBezTo>
                  <a:pt x="32" y="116"/>
                  <a:pt x="32" y="116"/>
                  <a:pt x="32" y="116"/>
                </a:cubicBezTo>
                <a:cubicBezTo>
                  <a:pt x="128" y="116"/>
                  <a:pt x="128" y="116"/>
                  <a:pt x="128" y="116"/>
                </a:cubicBezTo>
                <a:lnTo>
                  <a:pt x="128" y="108"/>
                </a:lnTo>
                <a:close/>
                <a:moveTo>
                  <a:pt x="128" y="76"/>
                </a:moveTo>
                <a:cubicBezTo>
                  <a:pt x="32" y="76"/>
                  <a:pt x="32" y="76"/>
                  <a:pt x="32" y="76"/>
                </a:cubicBezTo>
                <a:cubicBezTo>
                  <a:pt x="32" y="84"/>
                  <a:pt x="32" y="84"/>
                  <a:pt x="32" y="84"/>
                </a:cubicBezTo>
                <a:cubicBezTo>
                  <a:pt x="128" y="84"/>
                  <a:pt x="128" y="84"/>
                  <a:pt x="128" y="84"/>
                </a:cubicBezTo>
                <a:lnTo>
                  <a:pt x="128" y="76"/>
                </a:lnTo>
                <a:close/>
                <a:moveTo>
                  <a:pt x="104" y="0"/>
                </a:moveTo>
                <a:cubicBezTo>
                  <a:pt x="111" y="0"/>
                  <a:pt x="116" y="5"/>
                  <a:pt x="116" y="12"/>
                </a:cubicBezTo>
                <a:cubicBezTo>
                  <a:pt x="116" y="20"/>
                  <a:pt x="116" y="20"/>
                  <a:pt x="116" y="20"/>
                </a:cubicBezTo>
                <a:cubicBezTo>
                  <a:pt x="116" y="27"/>
                  <a:pt x="111" y="32"/>
                  <a:pt x="104" y="32"/>
                </a:cubicBezTo>
                <a:cubicBezTo>
                  <a:pt x="56" y="32"/>
                  <a:pt x="56" y="32"/>
                  <a:pt x="56" y="32"/>
                </a:cubicBezTo>
                <a:cubicBezTo>
                  <a:pt x="49" y="32"/>
                  <a:pt x="44" y="27"/>
                  <a:pt x="44" y="20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5"/>
                  <a:pt x="49" y="0"/>
                  <a:pt x="56" y="0"/>
                </a:cubicBezTo>
                <a:lnTo>
                  <a:pt x="104" y="0"/>
                </a:lnTo>
                <a:close/>
              </a:path>
            </a:pathLst>
          </a:custGeom>
          <a:solidFill>
            <a:schemeClr val="accent3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93" name="iṧlîďe">
            <a:extLst>
              <a:ext uri="{FF2B5EF4-FFF2-40B4-BE49-F238E27FC236}">
                <a16:creationId xmlns:a16="http://schemas.microsoft.com/office/drawing/2014/main" id="{34ED1FB4-01AA-4434-BBC9-D7C360938231}"/>
              </a:ext>
            </a:extLst>
          </p:cNvPr>
          <p:cNvSpPr txBox="1"/>
          <p:nvPr/>
        </p:nvSpPr>
        <p:spPr>
          <a:xfrm>
            <a:off x="669924" y="1864655"/>
            <a:ext cx="10848977" cy="37592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buSzPct val="25000"/>
            </a:pPr>
            <a:r>
              <a:rPr lang="en-US" altLang="zh-CN" sz="1400" dirty="0"/>
              <a:t>Theme color makes PPT more convenient to change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75418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1i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ļïďè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ṡļiḑe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šḻíďê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2" name="ï$ľíḍê">
            <a:extLst>
              <a:ext uri="{FF2B5EF4-FFF2-40B4-BE49-F238E27FC236}">
                <a16:creationId xmlns:a16="http://schemas.microsoft.com/office/drawing/2014/main" id="{4196AE32-9F2D-4E74-BA2F-A5C73CB4F3EC}"/>
              </a:ext>
            </a:extLst>
          </p:cNvPr>
          <p:cNvSpPr txBox="1"/>
          <p:nvPr/>
        </p:nvSpPr>
        <p:spPr>
          <a:xfrm>
            <a:off x="6137460" y="2550696"/>
            <a:ext cx="3866333" cy="13471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altLang="zh-CN" sz="1100" dirty="0"/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altLang="zh-CN" sz="1100" dirty="0"/>
              <a:t>Adjust the spacing to adapt to Chinese typesetting, use the reference line in PPT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altLang="zh-CN" sz="1100" dirty="0"/>
              <a:t>……</a:t>
            </a:r>
          </a:p>
        </p:txBody>
      </p:sp>
      <p:sp>
        <p:nvSpPr>
          <p:cNvPr id="23" name="îṧļïḑe">
            <a:extLst>
              <a:ext uri="{FF2B5EF4-FFF2-40B4-BE49-F238E27FC236}">
                <a16:creationId xmlns:a16="http://schemas.microsoft.com/office/drawing/2014/main" id="{B2AFAAC8-50A2-4EEB-82A8-164415CA569F}"/>
              </a:ext>
            </a:extLst>
          </p:cNvPr>
          <p:cNvSpPr txBox="1"/>
          <p:nvPr/>
        </p:nvSpPr>
        <p:spPr>
          <a:xfrm>
            <a:off x="6137460" y="1730962"/>
            <a:ext cx="3866333" cy="8197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sz="2000" b="1" dirty="0"/>
              <a:t>Unified fonts make reading more fluent.</a:t>
            </a:r>
          </a:p>
        </p:txBody>
      </p:sp>
      <p:sp>
        <p:nvSpPr>
          <p:cNvPr id="24" name="ïşļiḓè">
            <a:extLst>
              <a:ext uri="{FF2B5EF4-FFF2-40B4-BE49-F238E27FC236}">
                <a16:creationId xmlns:a16="http://schemas.microsoft.com/office/drawing/2014/main" id="{8D57E5F8-BA86-4E47-9AD3-001AC4A53C90}"/>
              </a:ext>
            </a:extLst>
          </p:cNvPr>
          <p:cNvSpPr txBox="1"/>
          <p:nvPr/>
        </p:nvSpPr>
        <p:spPr>
          <a:xfrm>
            <a:off x="6137460" y="4307305"/>
            <a:ext cx="2084828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de-DE" b="1" dirty="0"/>
              <a:t>Text here</a:t>
            </a:r>
          </a:p>
        </p:txBody>
      </p:sp>
      <p:sp>
        <p:nvSpPr>
          <p:cNvPr id="25" name="íšľíḋê">
            <a:extLst>
              <a:ext uri="{FF2B5EF4-FFF2-40B4-BE49-F238E27FC236}">
                <a16:creationId xmlns:a16="http://schemas.microsoft.com/office/drawing/2014/main" id="{2396030A-6A86-4049-9305-F285CCCA0DCB}"/>
              </a:ext>
            </a:extLst>
          </p:cNvPr>
          <p:cNvSpPr txBox="1"/>
          <p:nvPr/>
        </p:nvSpPr>
        <p:spPr>
          <a:xfrm>
            <a:off x="6137460" y="4746722"/>
            <a:ext cx="2084828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 fontScale="85000" lnSpcReduction="20000"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100" dirty="0"/>
              <a:t>Copy paste fonts. Choose the only option to retain text.</a:t>
            </a:r>
            <a:endParaRPr lang="de-DE" sz="1100" dirty="0"/>
          </a:p>
        </p:txBody>
      </p:sp>
      <p:sp>
        <p:nvSpPr>
          <p:cNvPr id="26" name="isliḑe">
            <a:extLst>
              <a:ext uri="{FF2B5EF4-FFF2-40B4-BE49-F238E27FC236}">
                <a16:creationId xmlns:a16="http://schemas.microsoft.com/office/drawing/2014/main" id="{0111FDD9-9626-436A-BE66-371195037700}"/>
              </a:ext>
            </a:extLst>
          </p:cNvPr>
          <p:cNvSpPr txBox="1"/>
          <p:nvPr/>
        </p:nvSpPr>
        <p:spPr>
          <a:xfrm>
            <a:off x="8558052" y="4307305"/>
            <a:ext cx="2084828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de-DE" b="1" dirty="0"/>
              <a:t>Text here</a:t>
            </a:r>
          </a:p>
        </p:txBody>
      </p:sp>
      <p:sp>
        <p:nvSpPr>
          <p:cNvPr id="27" name="isľiḋè">
            <a:extLst>
              <a:ext uri="{FF2B5EF4-FFF2-40B4-BE49-F238E27FC236}">
                <a16:creationId xmlns:a16="http://schemas.microsoft.com/office/drawing/2014/main" id="{2E003D7F-6447-4DD6-9C57-9B284D83B3BC}"/>
              </a:ext>
            </a:extLst>
          </p:cNvPr>
          <p:cNvSpPr txBox="1"/>
          <p:nvPr/>
        </p:nvSpPr>
        <p:spPr>
          <a:xfrm>
            <a:off x="8558052" y="4746722"/>
            <a:ext cx="2084828" cy="4394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 fontScale="85000" lnSpcReduction="20000"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100" dirty="0"/>
              <a:t>Copy paste fonts. Choose the only option to retain text.</a:t>
            </a:r>
            <a:endParaRPr lang="de-DE" sz="1100" dirty="0"/>
          </a:p>
        </p:txBody>
      </p:sp>
      <p:sp>
        <p:nvSpPr>
          <p:cNvPr id="34" name="iŝlïde">
            <a:extLst>
              <a:ext uri="{FF2B5EF4-FFF2-40B4-BE49-F238E27FC236}">
                <a16:creationId xmlns:a16="http://schemas.microsoft.com/office/drawing/2014/main" id="{9174F40D-6D74-49D9-8B4A-046D3A78CE27}"/>
              </a:ext>
            </a:extLst>
          </p:cNvPr>
          <p:cNvSpPr/>
          <p:nvPr/>
        </p:nvSpPr>
        <p:spPr>
          <a:xfrm>
            <a:off x="6198111" y="3899585"/>
            <a:ext cx="442680" cy="437678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rgbClr val="FF0000"/>
              </a:solidFill>
            </a:endParaRPr>
          </a:p>
        </p:txBody>
      </p:sp>
      <p:sp>
        <p:nvSpPr>
          <p:cNvPr id="29" name="ïṡḷídé">
            <a:extLst>
              <a:ext uri="{FF2B5EF4-FFF2-40B4-BE49-F238E27FC236}">
                <a16:creationId xmlns:a16="http://schemas.microsoft.com/office/drawing/2014/main" id="{0CA7F749-F8F5-4969-8530-B7CC70B1AC13}"/>
              </a:ext>
            </a:extLst>
          </p:cNvPr>
          <p:cNvSpPr/>
          <p:nvPr/>
        </p:nvSpPr>
        <p:spPr>
          <a:xfrm>
            <a:off x="8651054" y="3897084"/>
            <a:ext cx="361854" cy="442680"/>
          </a:xfrm>
          <a:custGeom>
            <a:avLst/>
            <a:gdLst>
              <a:gd name="T0" fmla="*/ 119 w 184"/>
              <a:gd name="T1" fmla="*/ 0 h 224"/>
              <a:gd name="T2" fmla="*/ 120 w 184"/>
              <a:gd name="T3" fmla="*/ 0 h 224"/>
              <a:gd name="T4" fmla="*/ 120 w 184"/>
              <a:gd name="T5" fmla="*/ 52 h 224"/>
              <a:gd name="T6" fmla="*/ 120 w 184"/>
              <a:gd name="T7" fmla="*/ 53 h 224"/>
              <a:gd name="T8" fmla="*/ 132 w 184"/>
              <a:gd name="T9" fmla="*/ 64 h 224"/>
              <a:gd name="T10" fmla="*/ 184 w 184"/>
              <a:gd name="T11" fmla="*/ 64 h 224"/>
              <a:gd name="T12" fmla="*/ 184 w 184"/>
              <a:gd name="T13" fmla="*/ 65 h 224"/>
              <a:gd name="T14" fmla="*/ 184 w 184"/>
              <a:gd name="T15" fmla="*/ 212 h 224"/>
              <a:gd name="T16" fmla="*/ 172 w 184"/>
              <a:gd name="T17" fmla="*/ 224 h 224"/>
              <a:gd name="T18" fmla="*/ 12 w 184"/>
              <a:gd name="T19" fmla="*/ 224 h 224"/>
              <a:gd name="T20" fmla="*/ 0 w 184"/>
              <a:gd name="T21" fmla="*/ 212 h 224"/>
              <a:gd name="T22" fmla="*/ 0 w 184"/>
              <a:gd name="T23" fmla="*/ 12 h 224"/>
              <a:gd name="T24" fmla="*/ 12 w 184"/>
              <a:gd name="T25" fmla="*/ 0 h 224"/>
              <a:gd name="T26" fmla="*/ 119 w 184"/>
              <a:gd name="T27" fmla="*/ 0 h 224"/>
              <a:gd name="T28" fmla="*/ 104 w 184"/>
              <a:gd name="T29" fmla="*/ 84 h 224"/>
              <a:gd name="T30" fmla="*/ 64 w 184"/>
              <a:gd name="T31" fmla="*/ 84 h 224"/>
              <a:gd name="T32" fmla="*/ 64 w 184"/>
              <a:gd name="T33" fmla="*/ 172 h 224"/>
              <a:gd name="T34" fmla="*/ 72 w 184"/>
              <a:gd name="T35" fmla="*/ 172 h 224"/>
              <a:gd name="T36" fmla="*/ 72 w 184"/>
              <a:gd name="T37" fmla="*/ 132 h 224"/>
              <a:gd name="T38" fmla="*/ 104 w 184"/>
              <a:gd name="T39" fmla="*/ 132 h 224"/>
              <a:gd name="T40" fmla="*/ 105 w 184"/>
              <a:gd name="T41" fmla="*/ 132 h 224"/>
              <a:gd name="T42" fmla="*/ 128 w 184"/>
              <a:gd name="T43" fmla="*/ 108 h 224"/>
              <a:gd name="T44" fmla="*/ 104 w 184"/>
              <a:gd name="T45" fmla="*/ 84 h 224"/>
              <a:gd name="T46" fmla="*/ 104 w 184"/>
              <a:gd name="T47" fmla="*/ 92 h 224"/>
              <a:gd name="T48" fmla="*/ 120 w 184"/>
              <a:gd name="T49" fmla="*/ 108 h 224"/>
              <a:gd name="T50" fmla="*/ 104 w 184"/>
              <a:gd name="T51" fmla="*/ 124 h 224"/>
              <a:gd name="T52" fmla="*/ 72 w 184"/>
              <a:gd name="T53" fmla="*/ 124 h 224"/>
              <a:gd name="T54" fmla="*/ 72 w 184"/>
              <a:gd name="T55" fmla="*/ 92 h 224"/>
              <a:gd name="T56" fmla="*/ 104 w 184"/>
              <a:gd name="T57" fmla="*/ 92 h 224"/>
              <a:gd name="T58" fmla="*/ 180 w 184"/>
              <a:gd name="T59" fmla="*/ 56 h 224"/>
              <a:gd name="T60" fmla="*/ 132 w 184"/>
              <a:gd name="T61" fmla="*/ 56 h 224"/>
              <a:gd name="T62" fmla="*/ 132 w 184"/>
              <a:gd name="T63" fmla="*/ 56 h 224"/>
              <a:gd name="T64" fmla="*/ 128 w 184"/>
              <a:gd name="T65" fmla="*/ 52 h 224"/>
              <a:gd name="T66" fmla="*/ 128 w 184"/>
              <a:gd name="T67" fmla="*/ 4 h 224"/>
              <a:gd name="T68" fmla="*/ 180 w 184"/>
              <a:gd name="T69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4" h="224">
                <a:moveTo>
                  <a:pt x="119" y="0"/>
                </a:moveTo>
                <a:cubicBezTo>
                  <a:pt x="120" y="0"/>
                  <a:pt x="120" y="0"/>
                  <a:pt x="120" y="0"/>
                </a:cubicBezTo>
                <a:cubicBezTo>
                  <a:pt x="120" y="52"/>
                  <a:pt x="120" y="52"/>
                  <a:pt x="120" y="52"/>
                </a:cubicBezTo>
                <a:cubicBezTo>
                  <a:pt x="120" y="53"/>
                  <a:pt x="120" y="53"/>
                  <a:pt x="120" y="53"/>
                </a:cubicBezTo>
                <a:cubicBezTo>
                  <a:pt x="120" y="59"/>
                  <a:pt x="126" y="64"/>
                  <a:pt x="132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65"/>
                  <a:pt x="184" y="65"/>
                  <a:pt x="184" y="65"/>
                </a:cubicBezTo>
                <a:cubicBezTo>
                  <a:pt x="184" y="212"/>
                  <a:pt x="184" y="212"/>
                  <a:pt x="184" y="212"/>
                </a:cubicBezTo>
                <a:cubicBezTo>
                  <a:pt x="184" y="219"/>
                  <a:pt x="179" y="224"/>
                  <a:pt x="172" y="224"/>
                </a:cubicBezTo>
                <a:cubicBezTo>
                  <a:pt x="12" y="224"/>
                  <a:pt x="12" y="224"/>
                  <a:pt x="12" y="224"/>
                </a:cubicBezTo>
                <a:cubicBezTo>
                  <a:pt x="5" y="224"/>
                  <a:pt x="0" y="219"/>
                  <a:pt x="0" y="2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119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32" y="56"/>
                  <a:pt x="132" y="56"/>
                  <a:pt x="132" y="56"/>
                </a:cubicBezTo>
                <a:cubicBezTo>
                  <a:pt x="132" y="56"/>
                  <a:pt x="132" y="56"/>
                  <a:pt x="132" y="56"/>
                </a:cubicBezTo>
                <a:cubicBezTo>
                  <a:pt x="130" y="56"/>
                  <a:pt x="128" y="54"/>
                  <a:pt x="128" y="52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accent2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rgbClr val="FF0000"/>
              </a:solidFill>
            </a:endParaRPr>
          </a:p>
        </p:txBody>
      </p:sp>
      <p:sp>
        <p:nvSpPr>
          <p:cNvPr id="13" name="íš1îďe">
            <a:extLst>
              <a:ext uri="{FF2B5EF4-FFF2-40B4-BE49-F238E27FC236}">
                <a16:creationId xmlns:a16="http://schemas.microsoft.com/office/drawing/2014/main" id="{AEB4657D-82D8-4215-8DA2-D14B0530C34A}"/>
              </a:ext>
            </a:extLst>
          </p:cNvPr>
          <p:cNvSpPr/>
          <p:nvPr/>
        </p:nvSpPr>
        <p:spPr>
          <a:xfrm>
            <a:off x="1549120" y="1715067"/>
            <a:ext cx="3890963" cy="3839029"/>
          </a:xfrm>
          <a:prstGeom prst="roundRect">
            <a:avLst>
              <a:gd name="adj" fmla="val 3001"/>
            </a:avLst>
          </a:prstGeom>
          <a:blipFill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98592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ḻî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lîďé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šḷiďe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ṥḷíḍê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6" name="iṣ1îḓé">
            <a:extLst>
              <a:ext uri="{FF2B5EF4-FFF2-40B4-BE49-F238E27FC236}">
                <a16:creationId xmlns:a16="http://schemas.microsoft.com/office/drawing/2014/main" id="{3B8422DF-4730-4F95-BC11-2E9FE866E41E}"/>
              </a:ext>
            </a:extLst>
          </p:cNvPr>
          <p:cNvGrpSpPr/>
          <p:nvPr/>
        </p:nvGrpSpPr>
        <p:grpSpPr>
          <a:xfrm>
            <a:off x="669924" y="1141033"/>
            <a:ext cx="10847388" cy="4648195"/>
            <a:chOff x="669924" y="1141033"/>
            <a:chExt cx="10847388" cy="4648195"/>
          </a:xfrm>
        </p:grpSpPr>
        <p:sp>
          <p:nvSpPr>
            <p:cNvPr id="184" name="iṡlíḓé">
              <a:extLst>
                <a:ext uri="{FF2B5EF4-FFF2-40B4-BE49-F238E27FC236}">
                  <a16:creationId xmlns:a16="http://schemas.microsoft.com/office/drawing/2014/main" id="{F9C93AA0-59D6-4453-8118-3F5932A80B3A}"/>
                </a:ext>
              </a:extLst>
            </p:cNvPr>
            <p:cNvSpPr/>
            <p:nvPr/>
          </p:nvSpPr>
          <p:spPr>
            <a:xfrm>
              <a:off x="3808031" y="1141033"/>
              <a:ext cx="4575938" cy="4575934"/>
            </a:xfrm>
            <a:prstGeom prst="donut">
              <a:avLst>
                <a:gd name="adj" fmla="val 1777"/>
              </a:avLst>
            </a:prstGeom>
            <a:gradFill>
              <a:gsLst>
                <a:gs pos="50000">
                  <a:schemeClr val="bg1">
                    <a:lumMod val="85000"/>
                    <a:alpha val="17000"/>
                  </a:schemeClr>
                </a:gs>
                <a:gs pos="0">
                  <a:schemeClr val="bg1"/>
                </a:gs>
                <a:gs pos="100000">
                  <a:schemeClr val="bg1"/>
                </a:gs>
              </a:gsLst>
              <a:lin ang="5400000" scaled="1"/>
            </a:gra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5" name="íṣľïḋé">
              <a:extLst>
                <a:ext uri="{FF2B5EF4-FFF2-40B4-BE49-F238E27FC236}">
                  <a16:creationId xmlns:a16="http://schemas.microsoft.com/office/drawing/2014/main" id="{8A829CF9-193B-474B-8734-676E4BAB1E05}"/>
                </a:ext>
              </a:extLst>
            </p:cNvPr>
            <p:cNvSpPr/>
            <p:nvPr/>
          </p:nvSpPr>
          <p:spPr>
            <a:xfrm>
              <a:off x="3550160" y="3289683"/>
              <a:ext cx="646546" cy="64654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7" name="ïṡľiḑe">
              <a:extLst>
                <a:ext uri="{FF2B5EF4-FFF2-40B4-BE49-F238E27FC236}">
                  <a16:creationId xmlns:a16="http://schemas.microsoft.com/office/drawing/2014/main" id="{949745EC-1FB8-4F8B-926D-F1B431C6E7D4}"/>
                </a:ext>
              </a:extLst>
            </p:cNvPr>
            <p:cNvSpPr/>
            <p:nvPr/>
          </p:nvSpPr>
          <p:spPr>
            <a:xfrm>
              <a:off x="4184136" y="1707845"/>
              <a:ext cx="646546" cy="64654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8" name="ïṡḻïḑè">
              <a:extLst>
                <a:ext uri="{FF2B5EF4-FFF2-40B4-BE49-F238E27FC236}">
                  <a16:creationId xmlns:a16="http://schemas.microsoft.com/office/drawing/2014/main" id="{A1846B31-979B-43C7-9697-0650102D3E5D}"/>
                </a:ext>
              </a:extLst>
            </p:cNvPr>
            <p:cNvSpPr/>
            <p:nvPr/>
          </p:nvSpPr>
          <p:spPr>
            <a:xfrm>
              <a:off x="7354966" y="1707845"/>
              <a:ext cx="646546" cy="64654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9" name="ís1iḍé">
              <a:extLst>
                <a:ext uri="{FF2B5EF4-FFF2-40B4-BE49-F238E27FC236}">
                  <a16:creationId xmlns:a16="http://schemas.microsoft.com/office/drawing/2014/main" id="{383F0AFD-B386-43C4-A710-33536616B2BE}"/>
                </a:ext>
              </a:extLst>
            </p:cNvPr>
            <p:cNvSpPr/>
            <p:nvPr/>
          </p:nvSpPr>
          <p:spPr>
            <a:xfrm>
              <a:off x="7988942" y="3289683"/>
              <a:ext cx="646546" cy="64654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0" name="işḷîḍé">
              <a:extLst>
                <a:ext uri="{FF2B5EF4-FFF2-40B4-BE49-F238E27FC236}">
                  <a16:creationId xmlns:a16="http://schemas.microsoft.com/office/drawing/2014/main" id="{76E5F96A-10C0-4919-B8D3-F61CD0CE099A}"/>
                </a:ext>
              </a:extLst>
            </p:cNvPr>
            <p:cNvSpPr/>
            <p:nvPr/>
          </p:nvSpPr>
          <p:spPr>
            <a:xfrm>
              <a:off x="7349181" y="4796287"/>
              <a:ext cx="646546" cy="646546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213" name="íṩliḑè">
              <a:extLst>
                <a:ext uri="{FF2B5EF4-FFF2-40B4-BE49-F238E27FC236}">
                  <a16:creationId xmlns:a16="http://schemas.microsoft.com/office/drawing/2014/main" id="{C9CA47BF-1F36-4268-8B34-C05589E77A95}"/>
                </a:ext>
              </a:extLst>
            </p:cNvPr>
            <p:cNvSpPr txBox="1"/>
            <p:nvPr/>
          </p:nvSpPr>
          <p:spPr>
            <a:xfrm>
              <a:off x="1203832" y="1827269"/>
              <a:ext cx="2781552" cy="72430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>
                <a:spcBef>
                  <a:spcPct val="0"/>
                </a:spcBef>
                <a:defRPr/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</a:p>
            <a:p>
              <a:pPr lvl="0" algn="r" defTabSz="914400">
                <a:spcBef>
                  <a:spcPct val="0"/>
                </a:spcBef>
                <a:defRPr/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214" name="ïsliḍe">
              <a:extLst>
                <a:ext uri="{FF2B5EF4-FFF2-40B4-BE49-F238E27FC236}">
                  <a16:creationId xmlns:a16="http://schemas.microsoft.com/office/drawing/2014/main" id="{65D77CC2-A264-4A72-832D-F7C350D447B1}"/>
                </a:ext>
              </a:extLst>
            </p:cNvPr>
            <p:cNvSpPr/>
            <p:nvPr/>
          </p:nvSpPr>
          <p:spPr>
            <a:xfrm>
              <a:off x="1203832" y="1479934"/>
              <a:ext cx="2781552" cy="335557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b="1" dirty="0"/>
                <a:t>Text here</a:t>
              </a:r>
            </a:p>
          </p:txBody>
        </p:sp>
        <p:sp>
          <p:nvSpPr>
            <p:cNvPr id="191" name="íşḻïḓè">
              <a:extLst>
                <a:ext uri="{FF2B5EF4-FFF2-40B4-BE49-F238E27FC236}">
                  <a16:creationId xmlns:a16="http://schemas.microsoft.com/office/drawing/2014/main" id="{B8445F27-04F2-444D-B824-410C1FBAEC11}"/>
                </a:ext>
              </a:extLst>
            </p:cNvPr>
            <p:cNvSpPr/>
            <p:nvPr/>
          </p:nvSpPr>
          <p:spPr>
            <a:xfrm>
              <a:off x="3705489" y="3490523"/>
              <a:ext cx="326544" cy="247214"/>
            </a:xfrm>
            <a:custGeom>
              <a:avLst/>
              <a:gdLst>
                <a:gd name="T0" fmla="*/ 212 w 224"/>
                <a:gd name="T1" fmla="*/ 0 h 168"/>
                <a:gd name="T2" fmla="*/ 224 w 224"/>
                <a:gd name="T3" fmla="*/ 12 h 168"/>
                <a:gd name="T4" fmla="*/ 224 w 224"/>
                <a:gd name="T5" fmla="*/ 156 h 168"/>
                <a:gd name="T6" fmla="*/ 212 w 224"/>
                <a:gd name="T7" fmla="*/ 168 h 168"/>
                <a:gd name="T8" fmla="*/ 12 w 224"/>
                <a:gd name="T9" fmla="*/ 168 h 168"/>
                <a:gd name="T10" fmla="*/ 0 w 224"/>
                <a:gd name="T11" fmla="*/ 156 h 168"/>
                <a:gd name="T12" fmla="*/ 0 w 224"/>
                <a:gd name="T13" fmla="*/ 12 h 168"/>
                <a:gd name="T14" fmla="*/ 12 w 224"/>
                <a:gd name="T15" fmla="*/ 0 h 168"/>
                <a:gd name="T16" fmla="*/ 212 w 224"/>
                <a:gd name="T17" fmla="*/ 0 h 168"/>
                <a:gd name="T18" fmla="*/ 164 w 224"/>
                <a:gd name="T19" fmla="*/ 83 h 168"/>
                <a:gd name="T20" fmla="*/ 147 w 224"/>
                <a:gd name="T21" fmla="*/ 85 h 168"/>
                <a:gd name="T22" fmla="*/ 112 w 224"/>
                <a:gd name="T23" fmla="*/ 132 h 168"/>
                <a:gd name="T24" fmla="*/ 111 w 224"/>
                <a:gd name="T25" fmla="*/ 133 h 168"/>
                <a:gd name="T26" fmla="*/ 94 w 224"/>
                <a:gd name="T27" fmla="*/ 134 h 168"/>
                <a:gd name="T28" fmla="*/ 68 w 224"/>
                <a:gd name="T29" fmla="*/ 108 h 168"/>
                <a:gd name="T30" fmla="*/ 67 w 224"/>
                <a:gd name="T31" fmla="*/ 107 h 168"/>
                <a:gd name="T32" fmla="*/ 50 w 224"/>
                <a:gd name="T33" fmla="*/ 109 h 168"/>
                <a:gd name="T34" fmla="*/ 13 w 224"/>
                <a:gd name="T35" fmla="*/ 153 h 168"/>
                <a:gd name="T36" fmla="*/ 12 w 224"/>
                <a:gd name="T37" fmla="*/ 156 h 168"/>
                <a:gd name="T38" fmla="*/ 16 w 224"/>
                <a:gd name="T39" fmla="*/ 160 h 168"/>
                <a:gd name="T40" fmla="*/ 209 w 224"/>
                <a:gd name="T41" fmla="*/ 160 h 168"/>
                <a:gd name="T42" fmla="*/ 211 w 224"/>
                <a:gd name="T43" fmla="*/ 159 h 168"/>
                <a:gd name="T44" fmla="*/ 212 w 224"/>
                <a:gd name="T45" fmla="*/ 154 h 168"/>
                <a:gd name="T46" fmla="*/ 167 w 224"/>
                <a:gd name="T47" fmla="*/ 86 h 168"/>
                <a:gd name="T48" fmla="*/ 164 w 224"/>
                <a:gd name="T49" fmla="*/ 83 h 168"/>
                <a:gd name="T50" fmla="*/ 40 w 224"/>
                <a:gd name="T51" fmla="*/ 24 h 168"/>
                <a:gd name="T52" fmla="*/ 24 w 224"/>
                <a:gd name="T53" fmla="*/ 40 h 168"/>
                <a:gd name="T54" fmla="*/ 40 w 224"/>
                <a:gd name="T55" fmla="*/ 56 h 168"/>
                <a:gd name="T56" fmla="*/ 56 w 224"/>
                <a:gd name="T57" fmla="*/ 40 h 168"/>
                <a:gd name="T58" fmla="*/ 40 w 224"/>
                <a:gd name="T59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4" h="168">
                  <a:moveTo>
                    <a:pt x="212" y="0"/>
                  </a:moveTo>
                  <a:cubicBezTo>
                    <a:pt x="219" y="0"/>
                    <a:pt x="224" y="5"/>
                    <a:pt x="224" y="12"/>
                  </a:cubicBezTo>
                  <a:cubicBezTo>
                    <a:pt x="224" y="156"/>
                    <a:pt x="224" y="156"/>
                    <a:pt x="224" y="156"/>
                  </a:cubicBezTo>
                  <a:cubicBezTo>
                    <a:pt x="224" y="163"/>
                    <a:pt x="219" y="168"/>
                    <a:pt x="212" y="168"/>
                  </a:cubicBezTo>
                  <a:cubicBezTo>
                    <a:pt x="12" y="168"/>
                    <a:pt x="12" y="168"/>
                    <a:pt x="12" y="168"/>
                  </a:cubicBezTo>
                  <a:cubicBezTo>
                    <a:pt x="5" y="168"/>
                    <a:pt x="0" y="163"/>
                    <a:pt x="0" y="15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lnTo>
                    <a:pt x="212" y="0"/>
                  </a:lnTo>
                  <a:close/>
                  <a:moveTo>
                    <a:pt x="164" y="83"/>
                  </a:moveTo>
                  <a:cubicBezTo>
                    <a:pt x="159" y="79"/>
                    <a:pt x="151" y="80"/>
                    <a:pt x="147" y="85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2" y="133"/>
                    <a:pt x="111" y="133"/>
                    <a:pt x="111" y="133"/>
                  </a:cubicBezTo>
                  <a:cubicBezTo>
                    <a:pt x="106" y="138"/>
                    <a:pt x="99" y="138"/>
                    <a:pt x="94" y="134"/>
                  </a:cubicBezTo>
                  <a:cubicBezTo>
                    <a:pt x="68" y="108"/>
                    <a:pt x="68" y="108"/>
                    <a:pt x="68" y="108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2" y="103"/>
                    <a:pt x="54" y="104"/>
                    <a:pt x="50" y="109"/>
                  </a:cubicBezTo>
                  <a:cubicBezTo>
                    <a:pt x="13" y="153"/>
                    <a:pt x="13" y="153"/>
                    <a:pt x="13" y="153"/>
                  </a:cubicBezTo>
                  <a:cubicBezTo>
                    <a:pt x="13" y="154"/>
                    <a:pt x="12" y="155"/>
                    <a:pt x="12" y="156"/>
                  </a:cubicBezTo>
                  <a:cubicBezTo>
                    <a:pt x="12" y="158"/>
                    <a:pt x="14" y="160"/>
                    <a:pt x="16" y="160"/>
                  </a:cubicBezTo>
                  <a:cubicBezTo>
                    <a:pt x="209" y="160"/>
                    <a:pt x="209" y="160"/>
                    <a:pt x="209" y="160"/>
                  </a:cubicBezTo>
                  <a:cubicBezTo>
                    <a:pt x="209" y="160"/>
                    <a:pt x="210" y="160"/>
                    <a:pt x="211" y="159"/>
                  </a:cubicBezTo>
                  <a:cubicBezTo>
                    <a:pt x="213" y="158"/>
                    <a:pt x="213" y="156"/>
                    <a:pt x="212" y="154"/>
                  </a:cubicBezTo>
                  <a:cubicBezTo>
                    <a:pt x="167" y="86"/>
                    <a:pt x="167" y="86"/>
                    <a:pt x="167" y="86"/>
                  </a:cubicBezTo>
                  <a:cubicBezTo>
                    <a:pt x="166" y="85"/>
                    <a:pt x="165" y="84"/>
                    <a:pt x="164" y="83"/>
                  </a:cubicBezTo>
                  <a:close/>
                  <a:moveTo>
                    <a:pt x="40" y="24"/>
                  </a:moveTo>
                  <a:cubicBezTo>
                    <a:pt x="31" y="24"/>
                    <a:pt x="24" y="31"/>
                    <a:pt x="24" y="40"/>
                  </a:cubicBezTo>
                  <a:cubicBezTo>
                    <a:pt x="24" y="49"/>
                    <a:pt x="31" y="56"/>
                    <a:pt x="40" y="56"/>
                  </a:cubicBezTo>
                  <a:cubicBezTo>
                    <a:pt x="49" y="56"/>
                    <a:pt x="56" y="49"/>
                    <a:pt x="56" y="40"/>
                  </a:cubicBezTo>
                  <a:cubicBezTo>
                    <a:pt x="56" y="31"/>
                    <a:pt x="49" y="24"/>
                    <a:pt x="40" y="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6" name="îsḷîďé">
              <a:extLst>
                <a:ext uri="{FF2B5EF4-FFF2-40B4-BE49-F238E27FC236}">
                  <a16:creationId xmlns:a16="http://schemas.microsoft.com/office/drawing/2014/main" id="{6902284F-9963-4E3B-B1A8-70930D3F5F76}"/>
                </a:ext>
              </a:extLst>
            </p:cNvPr>
            <p:cNvSpPr/>
            <p:nvPr/>
          </p:nvSpPr>
          <p:spPr>
            <a:xfrm>
              <a:off x="4196465" y="4791639"/>
              <a:ext cx="646546" cy="646546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2" name="íṡlîḓè">
              <a:extLst>
                <a:ext uri="{FF2B5EF4-FFF2-40B4-BE49-F238E27FC236}">
                  <a16:creationId xmlns:a16="http://schemas.microsoft.com/office/drawing/2014/main" id="{BA0D3C58-5FBC-4C48-B8BE-0779C0A41C25}"/>
                </a:ext>
              </a:extLst>
            </p:cNvPr>
            <p:cNvSpPr/>
            <p:nvPr/>
          </p:nvSpPr>
          <p:spPr>
            <a:xfrm>
              <a:off x="4387247" y="4956311"/>
              <a:ext cx="266922" cy="326544"/>
            </a:xfrm>
            <a:custGeom>
              <a:avLst/>
              <a:gdLst>
                <a:gd name="T0" fmla="*/ 119 w 184"/>
                <a:gd name="T1" fmla="*/ 0 h 224"/>
                <a:gd name="T2" fmla="*/ 120 w 184"/>
                <a:gd name="T3" fmla="*/ 0 h 224"/>
                <a:gd name="T4" fmla="*/ 120 w 184"/>
                <a:gd name="T5" fmla="*/ 52 h 224"/>
                <a:gd name="T6" fmla="*/ 120 w 184"/>
                <a:gd name="T7" fmla="*/ 53 h 224"/>
                <a:gd name="T8" fmla="*/ 132 w 184"/>
                <a:gd name="T9" fmla="*/ 64 h 224"/>
                <a:gd name="T10" fmla="*/ 184 w 184"/>
                <a:gd name="T11" fmla="*/ 64 h 224"/>
                <a:gd name="T12" fmla="*/ 184 w 184"/>
                <a:gd name="T13" fmla="*/ 65 h 224"/>
                <a:gd name="T14" fmla="*/ 184 w 184"/>
                <a:gd name="T15" fmla="*/ 212 h 224"/>
                <a:gd name="T16" fmla="*/ 172 w 184"/>
                <a:gd name="T17" fmla="*/ 224 h 224"/>
                <a:gd name="T18" fmla="*/ 12 w 184"/>
                <a:gd name="T19" fmla="*/ 224 h 224"/>
                <a:gd name="T20" fmla="*/ 0 w 184"/>
                <a:gd name="T21" fmla="*/ 212 h 224"/>
                <a:gd name="T22" fmla="*/ 0 w 184"/>
                <a:gd name="T23" fmla="*/ 12 h 224"/>
                <a:gd name="T24" fmla="*/ 12 w 184"/>
                <a:gd name="T25" fmla="*/ 0 h 224"/>
                <a:gd name="T26" fmla="*/ 119 w 184"/>
                <a:gd name="T27" fmla="*/ 0 h 224"/>
                <a:gd name="T28" fmla="*/ 104 w 184"/>
                <a:gd name="T29" fmla="*/ 84 h 224"/>
                <a:gd name="T30" fmla="*/ 64 w 184"/>
                <a:gd name="T31" fmla="*/ 84 h 224"/>
                <a:gd name="T32" fmla="*/ 64 w 184"/>
                <a:gd name="T33" fmla="*/ 172 h 224"/>
                <a:gd name="T34" fmla="*/ 72 w 184"/>
                <a:gd name="T35" fmla="*/ 172 h 224"/>
                <a:gd name="T36" fmla="*/ 72 w 184"/>
                <a:gd name="T37" fmla="*/ 132 h 224"/>
                <a:gd name="T38" fmla="*/ 104 w 184"/>
                <a:gd name="T39" fmla="*/ 132 h 224"/>
                <a:gd name="T40" fmla="*/ 105 w 184"/>
                <a:gd name="T41" fmla="*/ 132 h 224"/>
                <a:gd name="T42" fmla="*/ 128 w 184"/>
                <a:gd name="T43" fmla="*/ 108 h 224"/>
                <a:gd name="T44" fmla="*/ 104 w 184"/>
                <a:gd name="T45" fmla="*/ 84 h 224"/>
                <a:gd name="T46" fmla="*/ 104 w 184"/>
                <a:gd name="T47" fmla="*/ 92 h 224"/>
                <a:gd name="T48" fmla="*/ 120 w 184"/>
                <a:gd name="T49" fmla="*/ 108 h 224"/>
                <a:gd name="T50" fmla="*/ 104 w 184"/>
                <a:gd name="T51" fmla="*/ 124 h 224"/>
                <a:gd name="T52" fmla="*/ 72 w 184"/>
                <a:gd name="T53" fmla="*/ 124 h 224"/>
                <a:gd name="T54" fmla="*/ 72 w 184"/>
                <a:gd name="T55" fmla="*/ 92 h 224"/>
                <a:gd name="T56" fmla="*/ 104 w 184"/>
                <a:gd name="T57" fmla="*/ 92 h 224"/>
                <a:gd name="T58" fmla="*/ 180 w 184"/>
                <a:gd name="T59" fmla="*/ 56 h 224"/>
                <a:gd name="T60" fmla="*/ 132 w 184"/>
                <a:gd name="T61" fmla="*/ 56 h 224"/>
                <a:gd name="T62" fmla="*/ 132 w 184"/>
                <a:gd name="T63" fmla="*/ 56 h 224"/>
                <a:gd name="T64" fmla="*/ 128 w 184"/>
                <a:gd name="T65" fmla="*/ 52 h 224"/>
                <a:gd name="T66" fmla="*/ 128 w 184"/>
                <a:gd name="T67" fmla="*/ 4 h 224"/>
                <a:gd name="T68" fmla="*/ 180 w 184"/>
                <a:gd name="T69" fmla="*/ 5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" h="224">
                  <a:moveTo>
                    <a:pt x="119" y="0"/>
                  </a:moveTo>
                  <a:cubicBezTo>
                    <a:pt x="120" y="0"/>
                    <a:pt x="120" y="0"/>
                    <a:pt x="120" y="0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0" y="59"/>
                    <a:pt x="126" y="64"/>
                    <a:pt x="132" y="64"/>
                  </a:cubicBezTo>
                  <a:cubicBezTo>
                    <a:pt x="184" y="64"/>
                    <a:pt x="184" y="64"/>
                    <a:pt x="184" y="64"/>
                  </a:cubicBezTo>
                  <a:cubicBezTo>
                    <a:pt x="184" y="65"/>
                    <a:pt x="184" y="65"/>
                    <a:pt x="184" y="65"/>
                  </a:cubicBezTo>
                  <a:cubicBezTo>
                    <a:pt x="184" y="212"/>
                    <a:pt x="184" y="212"/>
                    <a:pt x="184" y="212"/>
                  </a:cubicBezTo>
                  <a:cubicBezTo>
                    <a:pt x="184" y="219"/>
                    <a:pt x="179" y="224"/>
                    <a:pt x="172" y="224"/>
                  </a:cubicBezTo>
                  <a:cubicBezTo>
                    <a:pt x="12" y="224"/>
                    <a:pt x="12" y="224"/>
                    <a:pt x="12" y="224"/>
                  </a:cubicBezTo>
                  <a:cubicBezTo>
                    <a:pt x="5" y="224"/>
                    <a:pt x="0" y="219"/>
                    <a:pt x="0" y="2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lnTo>
                    <a:pt x="119" y="0"/>
                  </a:lnTo>
                  <a:close/>
                  <a:moveTo>
                    <a:pt x="104" y="84"/>
                  </a:moveTo>
                  <a:cubicBezTo>
                    <a:pt x="64" y="84"/>
                    <a:pt x="64" y="84"/>
                    <a:pt x="64" y="84"/>
                  </a:cubicBezTo>
                  <a:cubicBezTo>
                    <a:pt x="64" y="172"/>
                    <a:pt x="64" y="172"/>
                    <a:pt x="64" y="172"/>
                  </a:cubicBezTo>
                  <a:cubicBezTo>
                    <a:pt x="72" y="172"/>
                    <a:pt x="72" y="172"/>
                    <a:pt x="72" y="17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5" y="132"/>
                    <a:pt x="105" y="132"/>
                    <a:pt x="105" y="132"/>
                  </a:cubicBezTo>
                  <a:cubicBezTo>
                    <a:pt x="118" y="132"/>
                    <a:pt x="128" y="121"/>
                    <a:pt x="128" y="108"/>
                  </a:cubicBezTo>
                  <a:cubicBezTo>
                    <a:pt x="128" y="95"/>
                    <a:pt x="117" y="84"/>
                    <a:pt x="104" y="84"/>
                  </a:cubicBezTo>
                  <a:close/>
                  <a:moveTo>
                    <a:pt x="104" y="92"/>
                  </a:moveTo>
                  <a:cubicBezTo>
                    <a:pt x="113" y="92"/>
                    <a:pt x="120" y="99"/>
                    <a:pt x="120" y="108"/>
                  </a:cubicBezTo>
                  <a:cubicBezTo>
                    <a:pt x="120" y="117"/>
                    <a:pt x="113" y="124"/>
                    <a:pt x="104" y="124"/>
                  </a:cubicBezTo>
                  <a:cubicBezTo>
                    <a:pt x="72" y="124"/>
                    <a:pt x="72" y="124"/>
                    <a:pt x="72" y="124"/>
                  </a:cubicBezTo>
                  <a:cubicBezTo>
                    <a:pt x="72" y="92"/>
                    <a:pt x="72" y="92"/>
                    <a:pt x="72" y="92"/>
                  </a:cubicBezTo>
                  <a:lnTo>
                    <a:pt x="104" y="92"/>
                  </a:lnTo>
                  <a:close/>
                  <a:moveTo>
                    <a:pt x="180" y="56"/>
                  </a:moveTo>
                  <a:cubicBezTo>
                    <a:pt x="132" y="56"/>
                    <a:pt x="132" y="56"/>
                    <a:pt x="132" y="56"/>
                  </a:cubicBezTo>
                  <a:cubicBezTo>
                    <a:pt x="132" y="56"/>
                    <a:pt x="132" y="56"/>
                    <a:pt x="132" y="56"/>
                  </a:cubicBezTo>
                  <a:cubicBezTo>
                    <a:pt x="130" y="56"/>
                    <a:pt x="128" y="54"/>
                    <a:pt x="128" y="52"/>
                  </a:cubicBezTo>
                  <a:cubicBezTo>
                    <a:pt x="128" y="4"/>
                    <a:pt x="128" y="4"/>
                    <a:pt x="128" y="4"/>
                  </a:cubicBezTo>
                  <a:lnTo>
                    <a:pt x="180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3" name="ïṡḻïďe">
              <a:extLst>
                <a:ext uri="{FF2B5EF4-FFF2-40B4-BE49-F238E27FC236}">
                  <a16:creationId xmlns:a16="http://schemas.microsoft.com/office/drawing/2014/main" id="{A4482E61-AA16-457E-810B-80BD03F27FB8}"/>
                </a:ext>
              </a:extLst>
            </p:cNvPr>
            <p:cNvSpPr/>
            <p:nvPr/>
          </p:nvSpPr>
          <p:spPr>
            <a:xfrm>
              <a:off x="4359880" y="1867846"/>
              <a:ext cx="295059" cy="326544"/>
            </a:xfrm>
            <a:custGeom>
              <a:avLst/>
              <a:gdLst>
                <a:gd name="T0" fmla="*/ 104 w 208"/>
                <a:gd name="T1" fmla="*/ 0 h 228"/>
                <a:gd name="T2" fmla="*/ 208 w 208"/>
                <a:gd name="T3" fmla="*/ 104 h 228"/>
                <a:gd name="T4" fmla="*/ 136 w 208"/>
                <a:gd name="T5" fmla="*/ 203 h 228"/>
                <a:gd name="T6" fmla="*/ 145 w 208"/>
                <a:gd name="T7" fmla="*/ 220 h 228"/>
                <a:gd name="T8" fmla="*/ 176 w 208"/>
                <a:gd name="T9" fmla="*/ 220 h 228"/>
                <a:gd name="T10" fmla="*/ 176 w 208"/>
                <a:gd name="T11" fmla="*/ 228 h 228"/>
                <a:gd name="T12" fmla="*/ 32 w 208"/>
                <a:gd name="T13" fmla="*/ 228 h 228"/>
                <a:gd name="T14" fmla="*/ 32 w 208"/>
                <a:gd name="T15" fmla="*/ 220 h 228"/>
                <a:gd name="T16" fmla="*/ 63 w 208"/>
                <a:gd name="T17" fmla="*/ 220 h 228"/>
                <a:gd name="T18" fmla="*/ 72 w 208"/>
                <a:gd name="T19" fmla="*/ 203 h 228"/>
                <a:gd name="T20" fmla="*/ 0 w 208"/>
                <a:gd name="T21" fmla="*/ 104 h 228"/>
                <a:gd name="T22" fmla="*/ 104 w 208"/>
                <a:gd name="T23" fmla="*/ 0 h 228"/>
                <a:gd name="T24" fmla="*/ 80 w 208"/>
                <a:gd name="T25" fmla="*/ 205 h 228"/>
                <a:gd name="T26" fmla="*/ 72 w 208"/>
                <a:gd name="T27" fmla="*/ 220 h 228"/>
                <a:gd name="T28" fmla="*/ 136 w 208"/>
                <a:gd name="T29" fmla="*/ 220 h 228"/>
                <a:gd name="T30" fmla="*/ 128 w 208"/>
                <a:gd name="T31" fmla="*/ 205 h 228"/>
                <a:gd name="T32" fmla="*/ 104 w 208"/>
                <a:gd name="T33" fmla="*/ 208 h 228"/>
                <a:gd name="T34" fmla="*/ 80 w 208"/>
                <a:gd name="T35" fmla="*/ 205 h 228"/>
                <a:gd name="T36" fmla="*/ 104 w 208"/>
                <a:gd name="T37" fmla="*/ 60 h 228"/>
                <a:gd name="T38" fmla="*/ 60 w 208"/>
                <a:gd name="T39" fmla="*/ 104 h 228"/>
                <a:gd name="T40" fmla="*/ 104 w 208"/>
                <a:gd name="T41" fmla="*/ 148 h 228"/>
                <a:gd name="T42" fmla="*/ 148 w 208"/>
                <a:gd name="T43" fmla="*/ 104 h 228"/>
                <a:gd name="T44" fmla="*/ 104 w 208"/>
                <a:gd name="T45" fmla="*/ 60 h 228"/>
                <a:gd name="T46" fmla="*/ 154 w 208"/>
                <a:gd name="T47" fmla="*/ 48 h 228"/>
                <a:gd name="T48" fmla="*/ 148 w 208"/>
                <a:gd name="T49" fmla="*/ 54 h 228"/>
                <a:gd name="T50" fmla="*/ 154 w 208"/>
                <a:gd name="T51" fmla="*/ 60 h 228"/>
                <a:gd name="T52" fmla="*/ 160 w 208"/>
                <a:gd name="T53" fmla="*/ 54 h 228"/>
                <a:gd name="T54" fmla="*/ 154 w 208"/>
                <a:gd name="T55" fmla="*/ 4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8" h="228">
                  <a:moveTo>
                    <a:pt x="104" y="0"/>
                  </a:moveTo>
                  <a:cubicBezTo>
                    <a:pt x="161" y="0"/>
                    <a:pt x="208" y="47"/>
                    <a:pt x="208" y="104"/>
                  </a:cubicBezTo>
                  <a:cubicBezTo>
                    <a:pt x="208" y="150"/>
                    <a:pt x="178" y="190"/>
                    <a:pt x="136" y="203"/>
                  </a:cubicBezTo>
                  <a:cubicBezTo>
                    <a:pt x="145" y="220"/>
                    <a:pt x="145" y="220"/>
                    <a:pt x="145" y="220"/>
                  </a:cubicBezTo>
                  <a:cubicBezTo>
                    <a:pt x="176" y="220"/>
                    <a:pt x="176" y="220"/>
                    <a:pt x="176" y="220"/>
                  </a:cubicBezTo>
                  <a:cubicBezTo>
                    <a:pt x="176" y="228"/>
                    <a:pt x="176" y="228"/>
                    <a:pt x="176" y="228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20"/>
                    <a:pt x="32" y="220"/>
                    <a:pt x="32" y="220"/>
                  </a:cubicBezTo>
                  <a:cubicBezTo>
                    <a:pt x="63" y="220"/>
                    <a:pt x="63" y="220"/>
                    <a:pt x="63" y="220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30" y="190"/>
                    <a:pt x="0" y="150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lose/>
                  <a:moveTo>
                    <a:pt x="80" y="205"/>
                  </a:moveTo>
                  <a:cubicBezTo>
                    <a:pt x="72" y="220"/>
                    <a:pt x="72" y="220"/>
                    <a:pt x="72" y="220"/>
                  </a:cubicBezTo>
                  <a:cubicBezTo>
                    <a:pt x="136" y="220"/>
                    <a:pt x="136" y="220"/>
                    <a:pt x="136" y="22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20" y="207"/>
                    <a:pt x="112" y="208"/>
                    <a:pt x="104" y="208"/>
                  </a:cubicBezTo>
                  <a:cubicBezTo>
                    <a:pt x="96" y="208"/>
                    <a:pt x="88" y="207"/>
                    <a:pt x="80" y="205"/>
                  </a:cubicBezTo>
                  <a:close/>
                  <a:moveTo>
                    <a:pt x="104" y="60"/>
                  </a:moveTo>
                  <a:cubicBezTo>
                    <a:pt x="80" y="60"/>
                    <a:pt x="60" y="80"/>
                    <a:pt x="60" y="104"/>
                  </a:cubicBezTo>
                  <a:cubicBezTo>
                    <a:pt x="60" y="128"/>
                    <a:pt x="80" y="148"/>
                    <a:pt x="104" y="148"/>
                  </a:cubicBezTo>
                  <a:cubicBezTo>
                    <a:pt x="128" y="148"/>
                    <a:pt x="148" y="128"/>
                    <a:pt x="148" y="104"/>
                  </a:cubicBezTo>
                  <a:cubicBezTo>
                    <a:pt x="148" y="80"/>
                    <a:pt x="128" y="60"/>
                    <a:pt x="104" y="60"/>
                  </a:cubicBezTo>
                  <a:close/>
                  <a:moveTo>
                    <a:pt x="154" y="48"/>
                  </a:moveTo>
                  <a:cubicBezTo>
                    <a:pt x="151" y="48"/>
                    <a:pt x="148" y="51"/>
                    <a:pt x="148" y="54"/>
                  </a:cubicBezTo>
                  <a:cubicBezTo>
                    <a:pt x="148" y="57"/>
                    <a:pt x="151" y="60"/>
                    <a:pt x="154" y="60"/>
                  </a:cubicBezTo>
                  <a:cubicBezTo>
                    <a:pt x="157" y="60"/>
                    <a:pt x="160" y="57"/>
                    <a:pt x="160" y="54"/>
                  </a:cubicBezTo>
                  <a:cubicBezTo>
                    <a:pt x="160" y="51"/>
                    <a:pt x="157" y="48"/>
                    <a:pt x="154" y="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5" name="ïŝḷîdé">
              <a:extLst>
                <a:ext uri="{FF2B5EF4-FFF2-40B4-BE49-F238E27FC236}">
                  <a16:creationId xmlns:a16="http://schemas.microsoft.com/office/drawing/2014/main" id="{906F4171-845C-4AA9-A919-D515BC17B9FF}"/>
                </a:ext>
              </a:extLst>
            </p:cNvPr>
            <p:cNvSpPr/>
            <p:nvPr/>
          </p:nvSpPr>
          <p:spPr>
            <a:xfrm>
              <a:off x="7514967" y="1899540"/>
              <a:ext cx="326544" cy="263156"/>
            </a:xfrm>
            <a:custGeom>
              <a:avLst/>
              <a:gdLst>
                <a:gd name="T0" fmla="*/ 204 w 216"/>
                <a:gd name="T1" fmla="*/ 0 h 172"/>
                <a:gd name="T2" fmla="*/ 216 w 216"/>
                <a:gd name="T3" fmla="*/ 12 h 172"/>
                <a:gd name="T4" fmla="*/ 216 w 216"/>
                <a:gd name="T5" fmla="*/ 136 h 172"/>
                <a:gd name="T6" fmla="*/ 204 w 216"/>
                <a:gd name="T7" fmla="*/ 148 h 172"/>
                <a:gd name="T8" fmla="*/ 80 w 216"/>
                <a:gd name="T9" fmla="*/ 148 h 172"/>
                <a:gd name="T10" fmla="*/ 48 w 216"/>
                <a:gd name="T11" fmla="*/ 172 h 172"/>
                <a:gd name="T12" fmla="*/ 48 w 216"/>
                <a:gd name="T13" fmla="*/ 148 h 172"/>
                <a:gd name="T14" fmla="*/ 12 w 216"/>
                <a:gd name="T15" fmla="*/ 148 h 172"/>
                <a:gd name="T16" fmla="*/ 0 w 216"/>
                <a:gd name="T17" fmla="*/ 136 h 172"/>
                <a:gd name="T18" fmla="*/ 0 w 216"/>
                <a:gd name="T19" fmla="*/ 12 h 172"/>
                <a:gd name="T20" fmla="*/ 12 w 216"/>
                <a:gd name="T21" fmla="*/ 0 h 172"/>
                <a:gd name="T22" fmla="*/ 204 w 216"/>
                <a:gd name="T23" fmla="*/ 0 h 172"/>
                <a:gd name="T24" fmla="*/ 52 w 216"/>
                <a:gd name="T25" fmla="*/ 60 h 172"/>
                <a:gd name="T26" fmla="*/ 38 w 216"/>
                <a:gd name="T27" fmla="*/ 74 h 172"/>
                <a:gd name="T28" fmla="*/ 52 w 216"/>
                <a:gd name="T29" fmla="*/ 88 h 172"/>
                <a:gd name="T30" fmla="*/ 66 w 216"/>
                <a:gd name="T31" fmla="*/ 74 h 172"/>
                <a:gd name="T32" fmla="*/ 52 w 216"/>
                <a:gd name="T33" fmla="*/ 60 h 172"/>
                <a:gd name="T34" fmla="*/ 108 w 216"/>
                <a:gd name="T35" fmla="*/ 60 h 172"/>
                <a:gd name="T36" fmla="*/ 94 w 216"/>
                <a:gd name="T37" fmla="*/ 74 h 172"/>
                <a:gd name="T38" fmla="*/ 108 w 216"/>
                <a:gd name="T39" fmla="*/ 88 h 172"/>
                <a:gd name="T40" fmla="*/ 122 w 216"/>
                <a:gd name="T41" fmla="*/ 74 h 172"/>
                <a:gd name="T42" fmla="*/ 108 w 216"/>
                <a:gd name="T43" fmla="*/ 60 h 172"/>
                <a:gd name="T44" fmla="*/ 164 w 216"/>
                <a:gd name="T45" fmla="*/ 60 h 172"/>
                <a:gd name="T46" fmla="*/ 150 w 216"/>
                <a:gd name="T47" fmla="*/ 74 h 172"/>
                <a:gd name="T48" fmla="*/ 164 w 216"/>
                <a:gd name="T49" fmla="*/ 88 h 172"/>
                <a:gd name="T50" fmla="*/ 178 w 216"/>
                <a:gd name="T51" fmla="*/ 74 h 172"/>
                <a:gd name="T52" fmla="*/ 164 w 216"/>
                <a:gd name="T53" fmla="*/ 6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" h="172">
                  <a:moveTo>
                    <a:pt x="204" y="0"/>
                  </a:moveTo>
                  <a:cubicBezTo>
                    <a:pt x="211" y="0"/>
                    <a:pt x="216" y="5"/>
                    <a:pt x="216" y="12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6" y="143"/>
                    <a:pt x="211" y="148"/>
                    <a:pt x="204" y="148"/>
                  </a:cubicBezTo>
                  <a:cubicBezTo>
                    <a:pt x="80" y="148"/>
                    <a:pt x="80" y="148"/>
                    <a:pt x="80" y="148"/>
                  </a:cubicBezTo>
                  <a:cubicBezTo>
                    <a:pt x="48" y="172"/>
                    <a:pt x="48" y="172"/>
                    <a:pt x="48" y="172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12" y="148"/>
                    <a:pt x="12" y="148"/>
                    <a:pt x="12" y="148"/>
                  </a:cubicBezTo>
                  <a:cubicBezTo>
                    <a:pt x="5" y="148"/>
                    <a:pt x="0" y="143"/>
                    <a:pt x="0" y="13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lnTo>
                    <a:pt x="204" y="0"/>
                  </a:lnTo>
                  <a:close/>
                  <a:moveTo>
                    <a:pt x="52" y="60"/>
                  </a:moveTo>
                  <a:cubicBezTo>
                    <a:pt x="44" y="60"/>
                    <a:pt x="38" y="66"/>
                    <a:pt x="38" y="74"/>
                  </a:cubicBezTo>
                  <a:cubicBezTo>
                    <a:pt x="38" y="82"/>
                    <a:pt x="44" y="88"/>
                    <a:pt x="52" y="88"/>
                  </a:cubicBezTo>
                  <a:cubicBezTo>
                    <a:pt x="60" y="88"/>
                    <a:pt x="66" y="82"/>
                    <a:pt x="66" y="74"/>
                  </a:cubicBezTo>
                  <a:cubicBezTo>
                    <a:pt x="66" y="66"/>
                    <a:pt x="60" y="60"/>
                    <a:pt x="52" y="60"/>
                  </a:cubicBezTo>
                  <a:close/>
                  <a:moveTo>
                    <a:pt x="108" y="60"/>
                  </a:moveTo>
                  <a:cubicBezTo>
                    <a:pt x="100" y="60"/>
                    <a:pt x="94" y="66"/>
                    <a:pt x="94" y="74"/>
                  </a:cubicBezTo>
                  <a:cubicBezTo>
                    <a:pt x="94" y="82"/>
                    <a:pt x="100" y="88"/>
                    <a:pt x="108" y="88"/>
                  </a:cubicBezTo>
                  <a:cubicBezTo>
                    <a:pt x="116" y="88"/>
                    <a:pt x="122" y="82"/>
                    <a:pt x="122" y="74"/>
                  </a:cubicBezTo>
                  <a:cubicBezTo>
                    <a:pt x="122" y="66"/>
                    <a:pt x="116" y="60"/>
                    <a:pt x="108" y="60"/>
                  </a:cubicBezTo>
                  <a:close/>
                  <a:moveTo>
                    <a:pt x="164" y="60"/>
                  </a:moveTo>
                  <a:cubicBezTo>
                    <a:pt x="156" y="60"/>
                    <a:pt x="150" y="66"/>
                    <a:pt x="150" y="74"/>
                  </a:cubicBezTo>
                  <a:cubicBezTo>
                    <a:pt x="150" y="82"/>
                    <a:pt x="156" y="88"/>
                    <a:pt x="164" y="88"/>
                  </a:cubicBezTo>
                  <a:cubicBezTo>
                    <a:pt x="172" y="88"/>
                    <a:pt x="178" y="82"/>
                    <a:pt x="178" y="74"/>
                  </a:cubicBezTo>
                  <a:cubicBezTo>
                    <a:pt x="178" y="66"/>
                    <a:pt x="172" y="60"/>
                    <a:pt x="164" y="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6" name="iśḷiḑè">
              <a:extLst>
                <a:ext uri="{FF2B5EF4-FFF2-40B4-BE49-F238E27FC236}">
                  <a16:creationId xmlns:a16="http://schemas.microsoft.com/office/drawing/2014/main" id="{6E8B8E74-3471-4084-BE01-9AB1EB704FA1}"/>
                </a:ext>
              </a:extLst>
            </p:cNvPr>
            <p:cNvSpPr/>
            <p:nvPr/>
          </p:nvSpPr>
          <p:spPr>
            <a:xfrm>
              <a:off x="7509182" y="4982879"/>
              <a:ext cx="326544" cy="273363"/>
            </a:xfrm>
            <a:custGeom>
              <a:avLst/>
              <a:gdLst>
                <a:gd name="T0" fmla="*/ 203 w 222"/>
                <a:gd name="T1" fmla="*/ 56 h 184"/>
                <a:gd name="T2" fmla="*/ 222 w 222"/>
                <a:gd name="T3" fmla="*/ 75 h 184"/>
                <a:gd name="T4" fmla="*/ 221 w 222"/>
                <a:gd name="T5" fmla="*/ 76 h 184"/>
                <a:gd name="T6" fmla="*/ 216 w 222"/>
                <a:gd name="T7" fmla="*/ 149 h 184"/>
                <a:gd name="T8" fmla="*/ 204 w 222"/>
                <a:gd name="T9" fmla="*/ 160 h 184"/>
                <a:gd name="T10" fmla="*/ 191 w 222"/>
                <a:gd name="T11" fmla="*/ 160 h 184"/>
                <a:gd name="T12" fmla="*/ 191 w 222"/>
                <a:gd name="T13" fmla="*/ 184 h 184"/>
                <a:gd name="T14" fmla="*/ 183 w 222"/>
                <a:gd name="T15" fmla="*/ 184 h 184"/>
                <a:gd name="T16" fmla="*/ 183 w 222"/>
                <a:gd name="T17" fmla="*/ 160 h 184"/>
                <a:gd name="T18" fmla="*/ 39 w 222"/>
                <a:gd name="T19" fmla="*/ 160 h 184"/>
                <a:gd name="T20" fmla="*/ 39 w 222"/>
                <a:gd name="T21" fmla="*/ 184 h 184"/>
                <a:gd name="T22" fmla="*/ 31 w 222"/>
                <a:gd name="T23" fmla="*/ 184 h 184"/>
                <a:gd name="T24" fmla="*/ 31 w 222"/>
                <a:gd name="T25" fmla="*/ 160 h 184"/>
                <a:gd name="T26" fmla="*/ 18 w 222"/>
                <a:gd name="T27" fmla="*/ 160 h 184"/>
                <a:gd name="T28" fmla="*/ 6 w 222"/>
                <a:gd name="T29" fmla="*/ 149 h 184"/>
                <a:gd name="T30" fmla="*/ 1 w 222"/>
                <a:gd name="T31" fmla="*/ 76 h 184"/>
                <a:gd name="T32" fmla="*/ 18 w 222"/>
                <a:gd name="T33" fmla="*/ 56 h 184"/>
                <a:gd name="T34" fmla="*/ 19 w 222"/>
                <a:gd name="T35" fmla="*/ 56 h 184"/>
                <a:gd name="T36" fmla="*/ 43 w 222"/>
                <a:gd name="T37" fmla="*/ 76 h 184"/>
                <a:gd name="T38" fmla="*/ 51 w 222"/>
                <a:gd name="T39" fmla="*/ 120 h 184"/>
                <a:gd name="T40" fmla="*/ 171 w 222"/>
                <a:gd name="T41" fmla="*/ 120 h 184"/>
                <a:gd name="T42" fmla="*/ 179 w 222"/>
                <a:gd name="T43" fmla="*/ 76 h 184"/>
                <a:gd name="T44" fmla="*/ 203 w 222"/>
                <a:gd name="T45" fmla="*/ 56 h 184"/>
                <a:gd name="T46" fmla="*/ 175 w 222"/>
                <a:gd name="T47" fmla="*/ 0 h 184"/>
                <a:gd name="T48" fmla="*/ 203 w 222"/>
                <a:gd name="T49" fmla="*/ 28 h 184"/>
                <a:gd name="T50" fmla="*/ 203 w 222"/>
                <a:gd name="T51" fmla="*/ 48 h 184"/>
                <a:gd name="T52" fmla="*/ 200 w 222"/>
                <a:gd name="T53" fmla="*/ 48 h 184"/>
                <a:gd name="T54" fmla="*/ 173 w 222"/>
                <a:gd name="T55" fmla="*/ 70 h 184"/>
                <a:gd name="T56" fmla="*/ 173 w 222"/>
                <a:gd name="T57" fmla="*/ 71 h 184"/>
                <a:gd name="T58" fmla="*/ 165 w 222"/>
                <a:gd name="T59" fmla="*/ 112 h 184"/>
                <a:gd name="T60" fmla="*/ 57 w 222"/>
                <a:gd name="T61" fmla="*/ 112 h 184"/>
                <a:gd name="T62" fmla="*/ 49 w 222"/>
                <a:gd name="T63" fmla="*/ 71 h 184"/>
                <a:gd name="T64" fmla="*/ 22 w 222"/>
                <a:gd name="T65" fmla="*/ 48 h 184"/>
                <a:gd name="T66" fmla="*/ 23 w 222"/>
                <a:gd name="T67" fmla="*/ 28 h 184"/>
                <a:gd name="T68" fmla="*/ 51 w 222"/>
                <a:gd name="T69" fmla="*/ 0 h 184"/>
                <a:gd name="T70" fmla="*/ 175 w 222"/>
                <a:gd name="T71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2" h="184">
                  <a:moveTo>
                    <a:pt x="203" y="56"/>
                  </a:moveTo>
                  <a:cubicBezTo>
                    <a:pt x="213" y="56"/>
                    <a:pt x="222" y="64"/>
                    <a:pt x="222" y="75"/>
                  </a:cubicBezTo>
                  <a:cubicBezTo>
                    <a:pt x="222" y="75"/>
                    <a:pt x="222" y="75"/>
                    <a:pt x="221" y="76"/>
                  </a:cubicBezTo>
                  <a:cubicBezTo>
                    <a:pt x="216" y="149"/>
                    <a:pt x="216" y="149"/>
                    <a:pt x="216" y="149"/>
                  </a:cubicBezTo>
                  <a:cubicBezTo>
                    <a:pt x="215" y="155"/>
                    <a:pt x="210" y="160"/>
                    <a:pt x="204" y="160"/>
                  </a:cubicBezTo>
                  <a:cubicBezTo>
                    <a:pt x="191" y="160"/>
                    <a:pt x="191" y="160"/>
                    <a:pt x="191" y="160"/>
                  </a:cubicBezTo>
                  <a:cubicBezTo>
                    <a:pt x="191" y="184"/>
                    <a:pt x="191" y="184"/>
                    <a:pt x="191" y="184"/>
                  </a:cubicBezTo>
                  <a:cubicBezTo>
                    <a:pt x="183" y="184"/>
                    <a:pt x="183" y="184"/>
                    <a:pt x="183" y="184"/>
                  </a:cubicBezTo>
                  <a:cubicBezTo>
                    <a:pt x="183" y="160"/>
                    <a:pt x="183" y="160"/>
                    <a:pt x="183" y="160"/>
                  </a:cubicBezTo>
                  <a:cubicBezTo>
                    <a:pt x="39" y="160"/>
                    <a:pt x="39" y="160"/>
                    <a:pt x="39" y="160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18" y="160"/>
                    <a:pt x="18" y="160"/>
                    <a:pt x="18" y="160"/>
                  </a:cubicBezTo>
                  <a:cubicBezTo>
                    <a:pt x="12" y="160"/>
                    <a:pt x="7" y="155"/>
                    <a:pt x="6" y="149"/>
                  </a:cubicBezTo>
                  <a:cubicBezTo>
                    <a:pt x="1" y="76"/>
                    <a:pt x="1" y="76"/>
                    <a:pt x="1" y="76"/>
                  </a:cubicBezTo>
                  <a:cubicBezTo>
                    <a:pt x="0" y="66"/>
                    <a:pt x="7" y="57"/>
                    <a:pt x="18" y="56"/>
                  </a:cubicBezTo>
                  <a:cubicBezTo>
                    <a:pt x="18" y="56"/>
                    <a:pt x="19" y="56"/>
                    <a:pt x="19" y="56"/>
                  </a:cubicBezTo>
                  <a:cubicBezTo>
                    <a:pt x="31" y="56"/>
                    <a:pt x="41" y="64"/>
                    <a:pt x="43" y="76"/>
                  </a:cubicBezTo>
                  <a:cubicBezTo>
                    <a:pt x="51" y="120"/>
                    <a:pt x="51" y="120"/>
                    <a:pt x="51" y="120"/>
                  </a:cubicBezTo>
                  <a:cubicBezTo>
                    <a:pt x="171" y="120"/>
                    <a:pt x="171" y="120"/>
                    <a:pt x="171" y="120"/>
                  </a:cubicBezTo>
                  <a:cubicBezTo>
                    <a:pt x="179" y="76"/>
                    <a:pt x="179" y="76"/>
                    <a:pt x="179" y="76"/>
                  </a:cubicBezTo>
                  <a:cubicBezTo>
                    <a:pt x="181" y="64"/>
                    <a:pt x="191" y="56"/>
                    <a:pt x="203" y="56"/>
                  </a:cubicBezTo>
                  <a:close/>
                  <a:moveTo>
                    <a:pt x="175" y="0"/>
                  </a:moveTo>
                  <a:cubicBezTo>
                    <a:pt x="190" y="0"/>
                    <a:pt x="203" y="13"/>
                    <a:pt x="203" y="28"/>
                  </a:cubicBezTo>
                  <a:cubicBezTo>
                    <a:pt x="203" y="48"/>
                    <a:pt x="203" y="48"/>
                    <a:pt x="203" y="48"/>
                  </a:cubicBezTo>
                  <a:cubicBezTo>
                    <a:pt x="202" y="48"/>
                    <a:pt x="201" y="48"/>
                    <a:pt x="200" y="48"/>
                  </a:cubicBezTo>
                  <a:cubicBezTo>
                    <a:pt x="187" y="48"/>
                    <a:pt x="176" y="57"/>
                    <a:pt x="173" y="70"/>
                  </a:cubicBezTo>
                  <a:cubicBezTo>
                    <a:pt x="173" y="71"/>
                    <a:pt x="173" y="71"/>
                    <a:pt x="173" y="71"/>
                  </a:cubicBezTo>
                  <a:cubicBezTo>
                    <a:pt x="165" y="112"/>
                    <a:pt x="165" y="112"/>
                    <a:pt x="165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7" y="57"/>
                    <a:pt x="35" y="48"/>
                    <a:pt x="22" y="4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13"/>
                    <a:pt x="36" y="0"/>
                    <a:pt x="51" y="0"/>
                  </a:cubicBezTo>
                  <a:lnTo>
                    <a:pt x="17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7" name="ïṡlíḓè">
              <a:extLst>
                <a:ext uri="{FF2B5EF4-FFF2-40B4-BE49-F238E27FC236}">
                  <a16:creationId xmlns:a16="http://schemas.microsoft.com/office/drawing/2014/main" id="{7E3BCD12-CF8B-4BF1-99BA-CB5686372A0C}"/>
                </a:ext>
              </a:extLst>
            </p:cNvPr>
            <p:cNvSpPr/>
            <p:nvPr/>
          </p:nvSpPr>
          <p:spPr>
            <a:xfrm>
              <a:off x="8153615" y="3451529"/>
              <a:ext cx="326544" cy="322853"/>
            </a:xfrm>
            <a:custGeom>
              <a:avLst/>
              <a:gdLst>
                <a:gd name="T0" fmla="*/ 144 w 224"/>
                <a:gd name="T1" fmla="*/ 116 h 220"/>
                <a:gd name="T2" fmla="*/ 156 w 224"/>
                <a:gd name="T3" fmla="*/ 128 h 220"/>
                <a:gd name="T4" fmla="*/ 156 w 224"/>
                <a:gd name="T5" fmla="*/ 208 h 220"/>
                <a:gd name="T6" fmla="*/ 144 w 224"/>
                <a:gd name="T7" fmla="*/ 220 h 220"/>
                <a:gd name="T8" fmla="*/ 80 w 224"/>
                <a:gd name="T9" fmla="*/ 220 h 220"/>
                <a:gd name="T10" fmla="*/ 68 w 224"/>
                <a:gd name="T11" fmla="*/ 208 h 220"/>
                <a:gd name="T12" fmla="*/ 68 w 224"/>
                <a:gd name="T13" fmla="*/ 128 h 220"/>
                <a:gd name="T14" fmla="*/ 80 w 224"/>
                <a:gd name="T15" fmla="*/ 116 h 220"/>
                <a:gd name="T16" fmla="*/ 144 w 224"/>
                <a:gd name="T17" fmla="*/ 116 h 220"/>
                <a:gd name="T18" fmla="*/ 60 w 224"/>
                <a:gd name="T19" fmla="*/ 48 h 220"/>
                <a:gd name="T20" fmla="*/ 75 w 224"/>
                <a:gd name="T21" fmla="*/ 64 h 220"/>
                <a:gd name="T22" fmla="*/ 76 w 224"/>
                <a:gd name="T23" fmla="*/ 64 h 220"/>
                <a:gd name="T24" fmla="*/ 148 w 224"/>
                <a:gd name="T25" fmla="*/ 64 h 220"/>
                <a:gd name="T26" fmla="*/ 164 w 224"/>
                <a:gd name="T27" fmla="*/ 49 h 220"/>
                <a:gd name="T28" fmla="*/ 164 w 224"/>
                <a:gd name="T29" fmla="*/ 48 h 220"/>
                <a:gd name="T30" fmla="*/ 212 w 224"/>
                <a:gd name="T31" fmla="*/ 48 h 220"/>
                <a:gd name="T32" fmla="*/ 224 w 224"/>
                <a:gd name="T33" fmla="*/ 60 h 220"/>
                <a:gd name="T34" fmla="*/ 224 w 224"/>
                <a:gd name="T35" fmla="*/ 160 h 220"/>
                <a:gd name="T36" fmla="*/ 212 w 224"/>
                <a:gd name="T37" fmla="*/ 172 h 220"/>
                <a:gd name="T38" fmla="*/ 164 w 224"/>
                <a:gd name="T39" fmla="*/ 172 h 220"/>
                <a:gd name="T40" fmla="*/ 164 w 224"/>
                <a:gd name="T41" fmla="*/ 124 h 220"/>
                <a:gd name="T42" fmla="*/ 149 w 224"/>
                <a:gd name="T43" fmla="*/ 108 h 220"/>
                <a:gd name="T44" fmla="*/ 148 w 224"/>
                <a:gd name="T45" fmla="*/ 108 h 220"/>
                <a:gd name="T46" fmla="*/ 76 w 224"/>
                <a:gd name="T47" fmla="*/ 108 h 220"/>
                <a:gd name="T48" fmla="*/ 60 w 224"/>
                <a:gd name="T49" fmla="*/ 123 h 220"/>
                <a:gd name="T50" fmla="*/ 60 w 224"/>
                <a:gd name="T51" fmla="*/ 124 h 220"/>
                <a:gd name="T52" fmla="*/ 60 w 224"/>
                <a:gd name="T53" fmla="*/ 172 h 220"/>
                <a:gd name="T54" fmla="*/ 12 w 224"/>
                <a:gd name="T55" fmla="*/ 172 h 220"/>
                <a:gd name="T56" fmla="*/ 0 w 224"/>
                <a:gd name="T57" fmla="*/ 160 h 220"/>
                <a:gd name="T58" fmla="*/ 0 w 224"/>
                <a:gd name="T59" fmla="*/ 84 h 220"/>
                <a:gd name="T60" fmla="*/ 4 w 224"/>
                <a:gd name="T61" fmla="*/ 73 h 220"/>
                <a:gd name="T62" fmla="*/ 23 w 224"/>
                <a:gd name="T63" fmla="*/ 53 h 220"/>
                <a:gd name="T64" fmla="*/ 35 w 224"/>
                <a:gd name="T65" fmla="*/ 48 h 220"/>
                <a:gd name="T66" fmla="*/ 60 w 224"/>
                <a:gd name="T67" fmla="*/ 48 h 220"/>
                <a:gd name="T68" fmla="*/ 194 w 224"/>
                <a:gd name="T69" fmla="*/ 72 h 220"/>
                <a:gd name="T70" fmla="*/ 188 w 224"/>
                <a:gd name="T71" fmla="*/ 78 h 220"/>
                <a:gd name="T72" fmla="*/ 194 w 224"/>
                <a:gd name="T73" fmla="*/ 84 h 220"/>
                <a:gd name="T74" fmla="*/ 200 w 224"/>
                <a:gd name="T75" fmla="*/ 78 h 220"/>
                <a:gd name="T76" fmla="*/ 194 w 224"/>
                <a:gd name="T77" fmla="*/ 72 h 220"/>
                <a:gd name="T78" fmla="*/ 144 w 224"/>
                <a:gd name="T79" fmla="*/ 0 h 220"/>
                <a:gd name="T80" fmla="*/ 156 w 224"/>
                <a:gd name="T81" fmla="*/ 12 h 220"/>
                <a:gd name="T82" fmla="*/ 156 w 224"/>
                <a:gd name="T83" fmla="*/ 44 h 220"/>
                <a:gd name="T84" fmla="*/ 144 w 224"/>
                <a:gd name="T85" fmla="*/ 56 h 220"/>
                <a:gd name="T86" fmla="*/ 80 w 224"/>
                <a:gd name="T87" fmla="*/ 56 h 220"/>
                <a:gd name="T88" fmla="*/ 68 w 224"/>
                <a:gd name="T89" fmla="*/ 44 h 220"/>
                <a:gd name="T90" fmla="*/ 68 w 224"/>
                <a:gd name="T91" fmla="*/ 12 h 220"/>
                <a:gd name="T92" fmla="*/ 80 w 224"/>
                <a:gd name="T93" fmla="*/ 0 h 220"/>
                <a:gd name="T94" fmla="*/ 144 w 224"/>
                <a:gd name="T9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4" h="220">
                  <a:moveTo>
                    <a:pt x="144" y="116"/>
                  </a:moveTo>
                  <a:cubicBezTo>
                    <a:pt x="151" y="116"/>
                    <a:pt x="156" y="121"/>
                    <a:pt x="156" y="128"/>
                  </a:cubicBezTo>
                  <a:cubicBezTo>
                    <a:pt x="156" y="208"/>
                    <a:pt x="156" y="208"/>
                    <a:pt x="156" y="208"/>
                  </a:cubicBezTo>
                  <a:cubicBezTo>
                    <a:pt x="156" y="215"/>
                    <a:pt x="151" y="220"/>
                    <a:pt x="144" y="220"/>
                  </a:cubicBezTo>
                  <a:cubicBezTo>
                    <a:pt x="80" y="220"/>
                    <a:pt x="80" y="220"/>
                    <a:pt x="80" y="220"/>
                  </a:cubicBezTo>
                  <a:cubicBezTo>
                    <a:pt x="73" y="220"/>
                    <a:pt x="68" y="215"/>
                    <a:pt x="68" y="20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1"/>
                    <a:pt x="73" y="116"/>
                    <a:pt x="80" y="116"/>
                  </a:cubicBezTo>
                  <a:lnTo>
                    <a:pt x="144" y="116"/>
                  </a:lnTo>
                  <a:close/>
                  <a:moveTo>
                    <a:pt x="60" y="48"/>
                  </a:moveTo>
                  <a:cubicBezTo>
                    <a:pt x="60" y="57"/>
                    <a:pt x="67" y="64"/>
                    <a:pt x="75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148" y="64"/>
                    <a:pt x="148" y="64"/>
                    <a:pt x="148" y="64"/>
                  </a:cubicBezTo>
                  <a:cubicBezTo>
                    <a:pt x="157" y="64"/>
                    <a:pt x="164" y="57"/>
                    <a:pt x="164" y="49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212" y="48"/>
                    <a:pt x="212" y="48"/>
                    <a:pt x="212" y="48"/>
                  </a:cubicBezTo>
                  <a:cubicBezTo>
                    <a:pt x="219" y="48"/>
                    <a:pt x="224" y="53"/>
                    <a:pt x="224" y="60"/>
                  </a:cubicBezTo>
                  <a:cubicBezTo>
                    <a:pt x="224" y="160"/>
                    <a:pt x="224" y="160"/>
                    <a:pt x="224" y="160"/>
                  </a:cubicBezTo>
                  <a:cubicBezTo>
                    <a:pt x="224" y="167"/>
                    <a:pt x="219" y="172"/>
                    <a:pt x="212" y="172"/>
                  </a:cubicBezTo>
                  <a:cubicBezTo>
                    <a:pt x="164" y="172"/>
                    <a:pt x="164" y="172"/>
                    <a:pt x="164" y="172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64" y="115"/>
                    <a:pt x="157" y="108"/>
                    <a:pt x="149" y="108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67" y="108"/>
                    <a:pt x="60" y="115"/>
                    <a:pt x="60" y="123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12" y="172"/>
                    <a:pt x="12" y="172"/>
                    <a:pt x="12" y="172"/>
                  </a:cubicBezTo>
                  <a:cubicBezTo>
                    <a:pt x="5" y="172"/>
                    <a:pt x="0" y="167"/>
                    <a:pt x="0" y="16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0"/>
                    <a:pt x="2" y="76"/>
                    <a:pt x="4" y="7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6" y="50"/>
                    <a:pt x="31" y="48"/>
                    <a:pt x="35" y="48"/>
                  </a:cubicBezTo>
                  <a:lnTo>
                    <a:pt x="60" y="48"/>
                  </a:lnTo>
                  <a:close/>
                  <a:moveTo>
                    <a:pt x="194" y="72"/>
                  </a:moveTo>
                  <a:cubicBezTo>
                    <a:pt x="191" y="72"/>
                    <a:pt x="188" y="75"/>
                    <a:pt x="188" y="78"/>
                  </a:cubicBezTo>
                  <a:cubicBezTo>
                    <a:pt x="188" y="81"/>
                    <a:pt x="191" y="84"/>
                    <a:pt x="194" y="84"/>
                  </a:cubicBezTo>
                  <a:cubicBezTo>
                    <a:pt x="197" y="84"/>
                    <a:pt x="200" y="81"/>
                    <a:pt x="200" y="78"/>
                  </a:cubicBezTo>
                  <a:cubicBezTo>
                    <a:pt x="200" y="75"/>
                    <a:pt x="197" y="72"/>
                    <a:pt x="194" y="72"/>
                  </a:cubicBezTo>
                  <a:close/>
                  <a:moveTo>
                    <a:pt x="144" y="0"/>
                  </a:moveTo>
                  <a:cubicBezTo>
                    <a:pt x="151" y="0"/>
                    <a:pt x="156" y="5"/>
                    <a:pt x="156" y="12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56" y="51"/>
                    <a:pt x="151" y="56"/>
                    <a:pt x="14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3" y="56"/>
                    <a:pt x="68" y="51"/>
                    <a:pt x="68" y="44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5"/>
                    <a:pt x="73" y="0"/>
                    <a:pt x="80" y="0"/>
                  </a:cubicBezTo>
                  <a:lnTo>
                    <a:pt x="14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ïṣľîḑè">
              <a:extLst>
                <a:ext uri="{FF2B5EF4-FFF2-40B4-BE49-F238E27FC236}">
                  <a16:creationId xmlns:a16="http://schemas.microsoft.com/office/drawing/2014/main" id="{EBAD46D5-5D57-42A1-90F0-D29E8824520D}"/>
                </a:ext>
              </a:extLst>
            </p:cNvPr>
            <p:cNvSpPr txBox="1"/>
            <p:nvPr/>
          </p:nvSpPr>
          <p:spPr>
            <a:xfrm>
              <a:off x="1203832" y="5064923"/>
              <a:ext cx="2781552" cy="72430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>
                <a:spcBef>
                  <a:spcPct val="0"/>
                </a:spcBef>
                <a:defRPr/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</a:p>
            <a:p>
              <a:pPr lvl="0" algn="r" defTabSz="914400">
                <a:spcBef>
                  <a:spcPct val="0"/>
                </a:spcBef>
                <a:defRPr/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212" name="i$ľide">
              <a:extLst>
                <a:ext uri="{FF2B5EF4-FFF2-40B4-BE49-F238E27FC236}">
                  <a16:creationId xmlns:a16="http://schemas.microsoft.com/office/drawing/2014/main" id="{CD88ADF4-AA02-48D6-8EA2-52AE24B7B44C}"/>
                </a:ext>
              </a:extLst>
            </p:cNvPr>
            <p:cNvSpPr/>
            <p:nvPr/>
          </p:nvSpPr>
          <p:spPr>
            <a:xfrm>
              <a:off x="1203832" y="4717588"/>
              <a:ext cx="2781552" cy="335557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b="1" dirty="0"/>
                <a:t>Text here</a:t>
              </a:r>
            </a:p>
          </p:txBody>
        </p:sp>
        <p:sp>
          <p:nvSpPr>
            <p:cNvPr id="209" name="iṥ1ïďê">
              <a:extLst>
                <a:ext uri="{FF2B5EF4-FFF2-40B4-BE49-F238E27FC236}">
                  <a16:creationId xmlns:a16="http://schemas.microsoft.com/office/drawing/2014/main" id="{B10B22AE-A76E-4C1C-A4C3-E8E69B90A61B}"/>
                </a:ext>
              </a:extLst>
            </p:cNvPr>
            <p:cNvSpPr txBox="1"/>
            <p:nvPr/>
          </p:nvSpPr>
          <p:spPr>
            <a:xfrm>
              <a:off x="669924" y="3422164"/>
              <a:ext cx="2781552" cy="72430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914400">
                <a:spcBef>
                  <a:spcPct val="0"/>
                </a:spcBef>
                <a:defRPr/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</a:p>
            <a:p>
              <a:pPr lvl="0" algn="r" defTabSz="914400">
                <a:spcBef>
                  <a:spcPct val="0"/>
                </a:spcBef>
                <a:defRPr/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210" name="îsḻiḑé">
              <a:extLst>
                <a:ext uri="{FF2B5EF4-FFF2-40B4-BE49-F238E27FC236}">
                  <a16:creationId xmlns:a16="http://schemas.microsoft.com/office/drawing/2014/main" id="{5610D83D-2E07-4BC5-A228-257856804229}"/>
                </a:ext>
              </a:extLst>
            </p:cNvPr>
            <p:cNvSpPr/>
            <p:nvPr/>
          </p:nvSpPr>
          <p:spPr>
            <a:xfrm>
              <a:off x="669924" y="3074829"/>
              <a:ext cx="2781552" cy="335557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b="1" dirty="0"/>
                <a:t>Text here</a:t>
              </a:r>
            </a:p>
          </p:txBody>
        </p:sp>
        <p:sp>
          <p:nvSpPr>
            <p:cNvPr id="207" name="ïṩḷïďè">
              <a:extLst>
                <a:ext uri="{FF2B5EF4-FFF2-40B4-BE49-F238E27FC236}">
                  <a16:creationId xmlns:a16="http://schemas.microsoft.com/office/drawing/2014/main" id="{9B31F76D-6229-4D5A-9E46-81771D82B72A}"/>
                </a:ext>
              </a:extLst>
            </p:cNvPr>
            <p:cNvSpPr txBox="1"/>
            <p:nvPr/>
          </p:nvSpPr>
          <p:spPr>
            <a:xfrm>
              <a:off x="8735760" y="3422164"/>
              <a:ext cx="2781552" cy="72430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914400">
                <a:spcBef>
                  <a:spcPct val="0"/>
                </a:spcBef>
                <a:defRPr/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</a:p>
            <a:p>
              <a:pPr lvl="0" defTabSz="914400">
                <a:spcBef>
                  <a:spcPct val="0"/>
                </a:spcBef>
                <a:defRPr/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208" name="ïṥļîdè">
              <a:extLst>
                <a:ext uri="{FF2B5EF4-FFF2-40B4-BE49-F238E27FC236}">
                  <a16:creationId xmlns:a16="http://schemas.microsoft.com/office/drawing/2014/main" id="{5D84AD75-83A1-43D6-B005-E6421B34998B}"/>
                </a:ext>
              </a:extLst>
            </p:cNvPr>
            <p:cNvSpPr/>
            <p:nvPr/>
          </p:nvSpPr>
          <p:spPr>
            <a:xfrm>
              <a:off x="8735760" y="3074829"/>
              <a:ext cx="2781552" cy="335557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b="1" dirty="0"/>
                <a:t>Text here</a:t>
              </a:r>
            </a:p>
          </p:txBody>
        </p:sp>
        <p:sp>
          <p:nvSpPr>
            <p:cNvPr id="205" name="ïṡ1íḑê">
              <a:extLst>
                <a:ext uri="{FF2B5EF4-FFF2-40B4-BE49-F238E27FC236}">
                  <a16:creationId xmlns:a16="http://schemas.microsoft.com/office/drawing/2014/main" id="{86CBE326-8F24-4D8E-B4B9-08D088387AC0}"/>
                </a:ext>
              </a:extLst>
            </p:cNvPr>
            <p:cNvSpPr txBox="1"/>
            <p:nvPr/>
          </p:nvSpPr>
          <p:spPr>
            <a:xfrm>
              <a:off x="8206808" y="1827269"/>
              <a:ext cx="2781552" cy="72430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914400">
                <a:spcBef>
                  <a:spcPct val="0"/>
                </a:spcBef>
                <a:defRPr/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</a:p>
            <a:p>
              <a:pPr lvl="0" defTabSz="914400">
                <a:spcBef>
                  <a:spcPct val="0"/>
                </a:spcBef>
                <a:defRPr/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206" name="islîďe">
              <a:extLst>
                <a:ext uri="{FF2B5EF4-FFF2-40B4-BE49-F238E27FC236}">
                  <a16:creationId xmlns:a16="http://schemas.microsoft.com/office/drawing/2014/main" id="{22AEB5F6-50C4-4E3D-8AFE-F752051B7C36}"/>
                </a:ext>
              </a:extLst>
            </p:cNvPr>
            <p:cNvSpPr/>
            <p:nvPr/>
          </p:nvSpPr>
          <p:spPr>
            <a:xfrm>
              <a:off x="8206808" y="1479934"/>
              <a:ext cx="2781552" cy="335557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b="1" dirty="0"/>
                <a:t>Text here</a:t>
              </a:r>
            </a:p>
          </p:txBody>
        </p:sp>
        <p:sp>
          <p:nvSpPr>
            <p:cNvPr id="203" name="íSľíḓé">
              <a:extLst>
                <a:ext uri="{FF2B5EF4-FFF2-40B4-BE49-F238E27FC236}">
                  <a16:creationId xmlns:a16="http://schemas.microsoft.com/office/drawing/2014/main" id="{4EDE3B9F-4099-4D31-9704-BF6F7E8A247B}"/>
                </a:ext>
              </a:extLst>
            </p:cNvPr>
            <p:cNvSpPr txBox="1"/>
            <p:nvPr/>
          </p:nvSpPr>
          <p:spPr>
            <a:xfrm>
              <a:off x="8206808" y="5064923"/>
              <a:ext cx="2781552" cy="72430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914400">
                <a:spcBef>
                  <a:spcPct val="0"/>
                </a:spcBef>
                <a:defRPr/>
              </a:pPr>
              <a:r>
                <a:rPr lang="en-US" altLang="zh-CN" sz="1100" dirty="0"/>
                <a:t>Copy paste fonts. Choose the only option to retain </a:t>
              </a:r>
              <a:r>
                <a:rPr lang="en-US" altLang="zh-CN" sz="1100"/>
                <a:t>text.</a:t>
              </a:r>
            </a:p>
            <a:p>
              <a:pPr lvl="0" defTabSz="914400">
                <a:spcBef>
                  <a:spcPct val="0"/>
                </a:spcBef>
                <a:defRPr/>
              </a:pPr>
              <a:r>
                <a:rPr lang="en-US" altLang="zh-CN" sz="1100"/>
                <a:t>… …</a:t>
              </a:r>
            </a:p>
          </p:txBody>
        </p:sp>
        <p:sp>
          <p:nvSpPr>
            <p:cNvPr id="204" name="íṣ1ïḓe">
              <a:extLst>
                <a:ext uri="{FF2B5EF4-FFF2-40B4-BE49-F238E27FC236}">
                  <a16:creationId xmlns:a16="http://schemas.microsoft.com/office/drawing/2014/main" id="{847D3CFE-FCB8-47B9-9530-0F7CFE4D801E}"/>
                </a:ext>
              </a:extLst>
            </p:cNvPr>
            <p:cNvSpPr/>
            <p:nvPr/>
          </p:nvSpPr>
          <p:spPr>
            <a:xfrm>
              <a:off x="8206808" y="4717588"/>
              <a:ext cx="2781552" cy="335557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b="1" dirty="0"/>
                <a:t>Text here</a:t>
              </a:r>
            </a:p>
          </p:txBody>
        </p:sp>
        <p:sp>
          <p:nvSpPr>
            <p:cNvPr id="7" name="îṡlïdè">
              <a:extLst>
                <a:ext uri="{FF2B5EF4-FFF2-40B4-BE49-F238E27FC236}">
                  <a16:creationId xmlns:a16="http://schemas.microsoft.com/office/drawing/2014/main" id="{EBD99E26-6CD8-4F24-BA4D-5F480CE1A109}"/>
                </a:ext>
              </a:extLst>
            </p:cNvPr>
            <p:cNvSpPr/>
            <p:nvPr/>
          </p:nvSpPr>
          <p:spPr>
            <a:xfrm>
              <a:off x="4944979" y="2262122"/>
              <a:ext cx="2332204" cy="2332204"/>
            </a:xfrm>
            <a:prstGeom prst="ellipse">
              <a:avLst/>
            </a:prstGeom>
            <a:blipFill>
              <a:blip r:embed="rId4" cstate="screen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5715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 prstMaterial="flat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íṥļïdé">
              <a:extLst>
                <a:ext uri="{FF2B5EF4-FFF2-40B4-BE49-F238E27FC236}">
                  <a16:creationId xmlns:a16="http://schemas.microsoft.com/office/drawing/2014/main" id="{19372EFC-D601-4B91-B7E3-93126DA8B4A1}"/>
                </a:ext>
              </a:extLst>
            </p:cNvPr>
            <p:cNvSpPr/>
            <p:nvPr/>
          </p:nvSpPr>
          <p:spPr>
            <a:xfrm>
              <a:off x="4889475" y="2222478"/>
              <a:ext cx="2413050" cy="2413045"/>
            </a:xfrm>
            <a:prstGeom prst="donut">
              <a:avLst>
                <a:gd name="adj" fmla="val 2387"/>
              </a:avLst>
            </a:prstGeom>
            <a:solidFill>
              <a:schemeClr val="bg1">
                <a:lumMod val="9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98826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THEME" val="225bf695-daa2-4759-97b7-6398e4bba18c"/>
  <p:tag name="THINKCELLUNDODONOTDELETE" val="0"/>
  <p:tag name="ISLIDE.GUIDESSETTING" val="{&quot;Id&quot;:null,&quot;Name&quot;:&quot;正常&quot;,&quot;HeaderHeight&quot;:15.0,&quot;FooterHeight&quot;:9.0,&quot;SideMargin&quot;:5.5,&quot;TopMargin&quot;:0.0,&quot;BottomMargin&quot;:0.0,&quot;IntervalMargin&quot;:1.5,&quot;SettingType&quot;:&quot;System&quot;}"/>
  <p:tag name="ISLIDE.TEMPLATE" val="a49e6fec-d62c-412b-b3e6-4c5aaac52b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4676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94670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41236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4123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32050;"/>
  <p:tag name="ISLIDE.ICON" val="#420273;#420275;#420271;#420274;#420271;#420269;#420267;#420269;#420268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71;#420276;#420272;#420270;#420268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70;#420259;#420270;#420274;#420269;#420268;#428169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70;#420259;#420270;#420274;#420271;#420272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92741;"/>
  <p:tag name="ISLIDE.ICON" val="#420270;#420276;#420268;#420269;#420258;#420273;#420269;#420272;#420271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217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68;#420269;#420272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71;#420271;#420274;#420276;#420268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92749;"/>
  <p:tag name="ISLIDE.ICON" val="#420256;#420259;#420261;#420259;#420267;#420272;#420269;#420268;#420269;#420271;#420263;#420261;#420265;#420262;#420274;#420272;#420270;#420276;#420273;#420275;#420269;#428169;#405331;#420271;#69555;#428173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31995;"/>
  <p:tag name="ISLIDE.ICON" val="#420268;#420257;#420268;#420271;#420269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67;#420256;#420272;#420265;#420276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59;#420274;#420276;#420271;#420272;#420268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92746;"/>
  <p:tag name="ISLIDE.ICON" val="#420272;#420269;#420268;#420261;#420258;#420257;#420272;#420269;#420268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69;#420265;#420269;#420270;#420272;#420271;"/>
</p:tagLst>
</file>

<file path=ppt/theme/theme1.xml><?xml version="1.0" encoding="utf-8"?>
<a:theme xmlns:a="http://schemas.openxmlformats.org/drawingml/2006/main" name="北京航空航天大学">
  <a:themeElements>
    <a:clrScheme name="浦银安盛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529F"/>
      </a:accent1>
      <a:accent2>
        <a:srgbClr val="2276C6"/>
      </a:accent2>
      <a:accent3>
        <a:srgbClr val="85ACD1"/>
      </a:accent3>
      <a:accent4>
        <a:srgbClr val="AECCE8"/>
      </a:accent4>
      <a:accent5>
        <a:srgbClr val="989898"/>
      </a:accent5>
      <a:accent6>
        <a:srgbClr val="BFBFBF"/>
      </a:accent6>
      <a:hlink>
        <a:srgbClr val="00529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浦银安盛">
    <a:dk1>
      <a:srgbClr val="000000"/>
    </a:dk1>
    <a:lt1>
      <a:srgbClr val="FFFFFF"/>
    </a:lt1>
    <a:dk2>
      <a:srgbClr val="768394"/>
    </a:dk2>
    <a:lt2>
      <a:srgbClr val="F0F0F0"/>
    </a:lt2>
    <a:accent1>
      <a:srgbClr val="00529F"/>
    </a:accent1>
    <a:accent2>
      <a:srgbClr val="2276C6"/>
    </a:accent2>
    <a:accent3>
      <a:srgbClr val="85ACD1"/>
    </a:accent3>
    <a:accent4>
      <a:srgbClr val="AECCE8"/>
    </a:accent4>
    <a:accent5>
      <a:srgbClr val="989898"/>
    </a:accent5>
    <a:accent6>
      <a:srgbClr val="BFBFBF"/>
    </a:accent6>
    <a:hlink>
      <a:srgbClr val="00529F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37</TotalTime>
  <Words>2305</Words>
  <Application>Microsoft Office PowerPoint</Application>
  <PresentationFormat>宽屏</PresentationFormat>
  <Paragraphs>450</Paragraphs>
  <Slides>28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8</vt:i4>
      </vt:variant>
    </vt:vector>
  </HeadingPairs>
  <TitlesOfParts>
    <vt:vector size="34" baseType="lpstr">
      <vt:lpstr>等线</vt:lpstr>
      <vt:lpstr>微软雅黑</vt:lpstr>
      <vt:lpstr>Arial</vt:lpstr>
      <vt:lpstr>Calibri</vt:lpstr>
      <vt:lpstr>北京航空航天大学</vt:lpstr>
      <vt:lpstr>think-cell Slide</vt:lpstr>
      <vt:lpstr>北京航空航天大学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感谢您的聆听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北京航空航天大学论文答辩PPT模板</dc:title>
  <dc:creator>islide</dc:creator>
  <cp:keywords>51PPT模板网（www.51pptmoban.com）</cp:keywords>
  <dc:description>51PPT模板网，幻灯片演示模板及素材免费下载！_x000d_
51PPT模板网 唯一访问网址：www.51pptmoban.com</dc:description>
  <cp:lastModifiedBy>jingtao hu</cp:lastModifiedBy>
  <cp:revision>4</cp:revision>
  <cp:lastPrinted>2020-09-09T16:00:00Z</cp:lastPrinted>
  <dcterms:created xsi:type="dcterms:W3CDTF">2020-09-09T16:00:00Z</dcterms:created>
  <dcterms:modified xsi:type="dcterms:W3CDTF">2024-09-15T02:49:29Z</dcterms:modified>
  <cp:contentStatus>北京航空航天大学论文答辩PPT模板，www.51pptmoban.com</cp:contentStatus>
  <cp:version>51pptmoban.com（V51PPT-24050801版）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a49e6fec-d62c-412b-b3e6-4c5aaac52b82</vt:lpwstr>
  </property>
</Properties>
</file>